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0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6.xml" ContentType="application/vnd.openxmlformats-officedocument.presentationml.notesSlide+xml"/>
  <Override PartName="/ppt/tags/tag113.xml" ContentType="application/vnd.openxmlformats-officedocument.presentationml.tags+xml"/>
  <Override PartName="/ppt/notesSlides/notesSlide17.xml" ContentType="application/vnd.openxmlformats-officedocument.presentationml.notesSlide+xml"/>
  <Override PartName="/ppt/tags/tag1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5" r:id="rId3"/>
  </p:sldMasterIdLst>
  <p:notesMasterIdLst>
    <p:notesMasterId r:id="rId28"/>
  </p:notesMasterIdLst>
  <p:sldIdLst>
    <p:sldId id="261" r:id="rId4"/>
    <p:sldId id="433" r:id="rId5"/>
    <p:sldId id="422" r:id="rId6"/>
    <p:sldId id="432" r:id="rId7"/>
    <p:sldId id="434" r:id="rId8"/>
    <p:sldId id="447" r:id="rId9"/>
    <p:sldId id="448" r:id="rId10"/>
    <p:sldId id="441" r:id="rId11"/>
    <p:sldId id="442" r:id="rId12"/>
    <p:sldId id="444" r:id="rId13"/>
    <p:sldId id="445" r:id="rId14"/>
    <p:sldId id="449" r:id="rId15"/>
    <p:sldId id="435" r:id="rId16"/>
    <p:sldId id="450" r:id="rId17"/>
    <p:sldId id="436" r:id="rId18"/>
    <p:sldId id="451" r:id="rId19"/>
    <p:sldId id="452" r:id="rId20"/>
    <p:sldId id="453" r:id="rId21"/>
    <p:sldId id="437" r:id="rId22"/>
    <p:sldId id="454" r:id="rId23"/>
    <p:sldId id="455" r:id="rId24"/>
    <p:sldId id="438" r:id="rId25"/>
    <p:sldId id="428" r:id="rId26"/>
    <p:sldId id="257" r:id="rId27"/>
  </p:sldIdLst>
  <p:sldSz cx="12188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LLOW, Fatim Cham" initials="FCHAM" lastIdx="8" clrIdx="0"/>
  <p:cmAuthor id="1" name="Maria Rosezoil Rioja" initials="MRR" lastIdx="8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215968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>
    <p:restoredLeft sz="16460" autoAdjust="0"/>
    <p:restoredTop sz="92870" autoAdjust="0"/>
  </p:normalViewPr>
  <p:slideViewPr>
    <p:cSldViewPr>
      <p:cViewPr varScale="1">
        <p:scale>
          <a:sx n="99" d="100"/>
          <a:sy n="99" d="100"/>
        </p:scale>
        <p:origin x="1590" y="84"/>
      </p:cViewPr>
      <p:guideLst>
        <p:guide orient="horz" pos="2160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presProps" Target="presProps.xml"/><Relationship Id="rId8" Type="http://schemas.openxmlformats.org/officeDocument/2006/relationships/slide" Target="slides/slide5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2E3089-390E-7E4C-A4F5-FF20B4BA4786}" type="doc">
      <dgm:prSet loTypeId="urn:microsoft.com/office/officeart/2005/8/layout/radial6" loCatId="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F9587B9D-A772-9749-94EE-47F8F83F7304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2400" dirty="0"/>
            <a:t>Quality Assurance for POC EID Testing </a:t>
          </a:r>
        </a:p>
      </dgm:t>
    </dgm:pt>
    <dgm:pt modelId="{29CCA57A-6D61-4C4F-861C-A4FC11D3A329}" type="parTrans" cxnId="{163B4BD2-C1E2-304A-8E7F-617CAD1F23D0}">
      <dgm:prSet/>
      <dgm:spPr/>
      <dgm:t>
        <a:bodyPr/>
        <a:lstStyle/>
        <a:p>
          <a:endParaRPr lang="en-US"/>
        </a:p>
      </dgm:t>
    </dgm:pt>
    <dgm:pt modelId="{CD23B0F1-DD56-F241-AD81-7AFB04E5178D}" type="sibTrans" cxnId="{163B4BD2-C1E2-304A-8E7F-617CAD1F23D0}">
      <dgm:prSet/>
      <dgm:spPr/>
      <dgm:t>
        <a:bodyPr/>
        <a:lstStyle/>
        <a:p>
          <a:endParaRPr lang="en-US"/>
        </a:p>
      </dgm:t>
    </dgm:pt>
    <dgm:pt modelId="{08F95510-5F9B-0F4A-96C7-D538ABD7C0C6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800" dirty="0"/>
            <a:t>POC EID Testing sites enrolled in EQA proficiency testing</a:t>
          </a:r>
        </a:p>
      </dgm:t>
    </dgm:pt>
    <dgm:pt modelId="{BBB9EC78-EF18-994A-A42E-5CB255F99B70}" type="parTrans" cxnId="{9233DF6F-10F7-1D44-B651-1DB9F0E87AE4}">
      <dgm:prSet/>
      <dgm:spPr/>
      <dgm:t>
        <a:bodyPr/>
        <a:lstStyle/>
        <a:p>
          <a:endParaRPr lang="en-US"/>
        </a:p>
      </dgm:t>
    </dgm:pt>
    <dgm:pt modelId="{024C02F5-C54C-1C49-8F7C-4C4602F08AFD}" type="sibTrans" cxnId="{9233DF6F-10F7-1D44-B651-1DB9F0E87AE4}">
      <dgm:prSet/>
      <dgm:spPr/>
      <dgm:t>
        <a:bodyPr/>
        <a:lstStyle/>
        <a:p>
          <a:endParaRPr lang="en-US"/>
        </a:p>
      </dgm:t>
    </dgm:pt>
    <dgm:pt modelId="{DE14BCB3-DD01-6242-84FF-E9F80028A95B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800" dirty="0"/>
            <a:t>Internal Quality Control built into devices </a:t>
          </a:r>
        </a:p>
      </dgm:t>
    </dgm:pt>
    <dgm:pt modelId="{B76E260B-5C47-C048-8B32-B99783898FEE}" type="parTrans" cxnId="{CC56F0B1-B7BC-E741-A2AB-8849C89FBD23}">
      <dgm:prSet/>
      <dgm:spPr/>
      <dgm:t>
        <a:bodyPr/>
        <a:lstStyle/>
        <a:p>
          <a:endParaRPr lang="en-US"/>
        </a:p>
      </dgm:t>
    </dgm:pt>
    <dgm:pt modelId="{A2DD5E18-4111-A746-BEB6-53C96ED85D0D}" type="sibTrans" cxnId="{CC56F0B1-B7BC-E741-A2AB-8849C89FBD23}">
      <dgm:prSet/>
      <dgm:spPr/>
      <dgm:t>
        <a:bodyPr/>
        <a:lstStyle/>
        <a:p>
          <a:endParaRPr lang="en-US"/>
        </a:p>
      </dgm:t>
    </dgm:pt>
    <dgm:pt modelId="{73BE8EEE-E02F-9B45-8526-4085C112CBB5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2000" dirty="0"/>
            <a:t>Mentorship/ Supervision Programs </a:t>
          </a:r>
        </a:p>
      </dgm:t>
    </dgm:pt>
    <dgm:pt modelId="{F74DB6AE-03CC-8D42-AD46-CD6328ECD64D}" type="parTrans" cxnId="{99451455-5B26-734D-9BE2-26BD677F6051}">
      <dgm:prSet/>
      <dgm:spPr/>
      <dgm:t>
        <a:bodyPr/>
        <a:lstStyle/>
        <a:p>
          <a:endParaRPr lang="en-US"/>
        </a:p>
      </dgm:t>
    </dgm:pt>
    <dgm:pt modelId="{602207B8-8DA3-D04D-BE1B-1B5E462D16B5}" type="sibTrans" cxnId="{99451455-5B26-734D-9BE2-26BD677F6051}">
      <dgm:prSet/>
      <dgm:spPr/>
      <dgm:t>
        <a:bodyPr/>
        <a:lstStyle/>
        <a:p>
          <a:endParaRPr lang="en-US"/>
        </a:p>
      </dgm:t>
    </dgm:pt>
    <dgm:pt modelId="{D420F853-D521-D448-BCD0-65988B48390E}">
      <dgm:prSet custT="1"/>
      <dgm:spPr>
        <a:solidFill>
          <a:schemeClr val="accent5"/>
        </a:solidFill>
      </dgm:spPr>
      <dgm:t>
        <a:bodyPr/>
        <a:lstStyle/>
        <a:p>
          <a:r>
            <a:rPr lang="en-US" sz="2000" dirty="0"/>
            <a:t> Service&amp; Maintenance Scheme</a:t>
          </a:r>
        </a:p>
      </dgm:t>
    </dgm:pt>
    <dgm:pt modelId="{192A724F-634D-E942-B77B-CAF0838B8A2E}" type="parTrans" cxnId="{B5540067-6B73-6D40-BED7-5556A37FBCF3}">
      <dgm:prSet/>
      <dgm:spPr/>
      <dgm:t>
        <a:bodyPr/>
        <a:lstStyle/>
        <a:p>
          <a:endParaRPr lang="en-US"/>
        </a:p>
      </dgm:t>
    </dgm:pt>
    <dgm:pt modelId="{AB82C964-89D3-5343-9050-2BD8B1027DAE}" type="sibTrans" cxnId="{B5540067-6B73-6D40-BED7-5556A37FBCF3}">
      <dgm:prSet/>
      <dgm:spPr/>
      <dgm:t>
        <a:bodyPr/>
        <a:lstStyle/>
        <a:p>
          <a:endParaRPr lang="en-US"/>
        </a:p>
      </dgm:t>
    </dgm:pt>
    <dgm:pt modelId="{B679BE98-0561-F14B-91E1-246FBB8108C1}">
      <dgm:prSet custT="1"/>
      <dgm:spPr>
        <a:solidFill>
          <a:schemeClr val="accent5"/>
        </a:solidFill>
      </dgm:spPr>
      <dgm:t>
        <a:bodyPr/>
        <a:lstStyle/>
        <a:p>
          <a:r>
            <a:rPr lang="en-US" sz="2000" dirty="0"/>
            <a:t>Connectivity</a:t>
          </a:r>
          <a:r>
            <a:rPr lang="en-US" sz="2000" baseline="0" dirty="0"/>
            <a:t> and Stock Management </a:t>
          </a:r>
          <a:endParaRPr lang="en-US" sz="2000" dirty="0"/>
        </a:p>
      </dgm:t>
    </dgm:pt>
    <dgm:pt modelId="{C9B5274E-B5E2-9748-818E-FDD4D86F80FA}" type="parTrans" cxnId="{91A45E4D-A445-8D47-9CD6-5452F6DAA831}">
      <dgm:prSet/>
      <dgm:spPr/>
      <dgm:t>
        <a:bodyPr/>
        <a:lstStyle/>
        <a:p>
          <a:endParaRPr lang="en-US"/>
        </a:p>
      </dgm:t>
    </dgm:pt>
    <dgm:pt modelId="{F19B7908-5535-214A-B909-5545DC47BD69}" type="sibTrans" cxnId="{91A45E4D-A445-8D47-9CD6-5452F6DAA831}">
      <dgm:prSet/>
      <dgm:spPr/>
      <dgm:t>
        <a:bodyPr/>
        <a:lstStyle/>
        <a:p>
          <a:endParaRPr lang="en-US"/>
        </a:p>
      </dgm:t>
    </dgm:pt>
    <dgm:pt modelId="{90EF77BA-21C2-4545-85F0-0ED40B98CCC8}">
      <dgm:prSet phldrT="[Text]" custT="1"/>
      <dgm:spPr>
        <a:solidFill>
          <a:schemeClr val="accent5"/>
        </a:solidFill>
      </dgm:spPr>
      <dgm:t>
        <a:bodyPr/>
        <a:lstStyle/>
        <a:p>
          <a:r>
            <a:rPr lang="en-US" sz="1600" dirty="0"/>
            <a:t>Training</a:t>
          </a:r>
          <a:r>
            <a:rPr lang="en-US" sz="1600" baseline="0" dirty="0"/>
            <a:t> and Annual Competency Assessment </a:t>
          </a:r>
          <a:endParaRPr lang="en-US" sz="1600" dirty="0"/>
        </a:p>
      </dgm:t>
    </dgm:pt>
    <dgm:pt modelId="{8A6CF74C-BA55-D147-BAB8-887702E75DEC}" type="sibTrans" cxnId="{AD9F0BD3-61D7-C44F-B85D-0C5652697EA7}">
      <dgm:prSet/>
      <dgm:spPr/>
      <dgm:t>
        <a:bodyPr/>
        <a:lstStyle/>
        <a:p>
          <a:endParaRPr lang="en-US"/>
        </a:p>
      </dgm:t>
    </dgm:pt>
    <dgm:pt modelId="{A29175E0-EAA0-4044-AFDA-9C9EA9DF8F82}" type="parTrans" cxnId="{AD9F0BD3-61D7-C44F-B85D-0C5652697EA7}">
      <dgm:prSet/>
      <dgm:spPr/>
      <dgm:t>
        <a:bodyPr/>
        <a:lstStyle/>
        <a:p>
          <a:endParaRPr lang="en-US"/>
        </a:p>
      </dgm:t>
    </dgm:pt>
    <dgm:pt modelId="{EF681B2E-969B-3441-92CC-1F5B48B55093}" type="pres">
      <dgm:prSet presAssocID="{432E3089-390E-7E4C-A4F5-FF20B4BA4786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7F2A3F07-9BEF-654A-B83D-00932EB81931}" type="pres">
      <dgm:prSet presAssocID="{F9587B9D-A772-9749-94EE-47F8F83F7304}" presName="centerShape" presStyleLbl="node0" presStyleIdx="0" presStyleCnt="1" custScaleX="143409" custScaleY="90511" custLinFactNeighborX="3179" custLinFactNeighborY="-1020"/>
      <dgm:spPr/>
    </dgm:pt>
    <dgm:pt modelId="{2FEC1885-FF06-E040-B2F5-5CFDCF4B872F}" type="pres">
      <dgm:prSet presAssocID="{90EF77BA-21C2-4545-85F0-0ED40B98CCC8}" presName="node" presStyleLbl="node1" presStyleIdx="0" presStyleCnt="6" custScaleX="177877" custRadScaleRad="99480" custRadScaleInc="10178">
        <dgm:presLayoutVars>
          <dgm:bulletEnabled val="1"/>
        </dgm:presLayoutVars>
      </dgm:prSet>
      <dgm:spPr/>
    </dgm:pt>
    <dgm:pt modelId="{3D10A278-A2EF-554C-ADCB-5D99570FF8A8}" type="pres">
      <dgm:prSet presAssocID="{90EF77BA-21C2-4545-85F0-0ED40B98CCC8}" presName="dummy" presStyleCnt="0"/>
      <dgm:spPr/>
    </dgm:pt>
    <dgm:pt modelId="{B0D2EF71-6289-3E40-AF7C-9C37A8AE9F6D}" type="pres">
      <dgm:prSet presAssocID="{8A6CF74C-BA55-D147-BAB8-887702E75DEC}" presName="sibTrans" presStyleLbl="sibTrans2D1" presStyleIdx="0" presStyleCnt="6" custScaleX="103216"/>
      <dgm:spPr/>
    </dgm:pt>
    <dgm:pt modelId="{A692A467-F063-824B-8149-5555F3F3DE53}" type="pres">
      <dgm:prSet presAssocID="{08F95510-5F9B-0F4A-96C7-D538ABD7C0C6}" presName="node" presStyleLbl="node1" presStyleIdx="1" presStyleCnt="6" custScaleX="169990" custRadScaleRad="138247" custRadScaleInc="52365">
        <dgm:presLayoutVars>
          <dgm:bulletEnabled val="1"/>
        </dgm:presLayoutVars>
      </dgm:prSet>
      <dgm:spPr/>
    </dgm:pt>
    <dgm:pt modelId="{B543CF7D-F214-A24B-901C-9F06C12507A3}" type="pres">
      <dgm:prSet presAssocID="{08F95510-5F9B-0F4A-96C7-D538ABD7C0C6}" presName="dummy" presStyleCnt="0"/>
      <dgm:spPr/>
    </dgm:pt>
    <dgm:pt modelId="{3E0B8700-DD6F-0843-8490-8872762B7490}" type="pres">
      <dgm:prSet presAssocID="{024C02F5-C54C-1C49-8F7C-4C4602F08AFD}" presName="sibTrans" presStyleLbl="sibTrans2D1" presStyleIdx="1" presStyleCnt="6"/>
      <dgm:spPr/>
    </dgm:pt>
    <dgm:pt modelId="{3FBED24C-C1C4-B545-B834-4636A3E6C972}" type="pres">
      <dgm:prSet presAssocID="{DE14BCB3-DD01-6242-84FF-E9F80028A95B}" presName="node" presStyleLbl="node1" presStyleIdx="2" presStyleCnt="6" custScaleX="165991" custRadScaleRad="132026" custRadScaleInc="-38624">
        <dgm:presLayoutVars>
          <dgm:bulletEnabled val="1"/>
        </dgm:presLayoutVars>
      </dgm:prSet>
      <dgm:spPr/>
    </dgm:pt>
    <dgm:pt modelId="{027D7B3D-861E-1145-A2EB-C66A193BB4FC}" type="pres">
      <dgm:prSet presAssocID="{DE14BCB3-DD01-6242-84FF-E9F80028A95B}" presName="dummy" presStyleCnt="0"/>
      <dgm:spPr/>
    </dgm:pt>
    <dgm:pt modelId="{66ACDCFF-BE1D-F346-BD83-4F4B495A6B6D}" type="pres">
      <dgm:prSet presAssocID="{A2DD5E18-4111-A746-BEB6-53C96ED85D0D}" presName="sibTrans" presStyleLbl="sibTrans2D1" presStyleIdx="2" presStyleCnt="6"/>
      <dgm:spPr/>
    </dgm:pt>
    <dgm:pt modelId="{C1DBB751-2493-454A-992C-B16041302E30}" type="pres">
      <dgm:prSet presAssocID="{73BE8EEE-E02F-9B45-8526-4085C112CBB5}" presName="node" presStyleLbl="node1" presStyleIdx="3" presStyleCnt="6" custScaleX="188591" custScaleY="100745" custRadScaleRad="100403" custRadScaleInc="-26702">
        <dgm:presLayoutVars>
          <dgm:bulletEnabled val="1"/>
        </dgm:presLayoutVars>
      </dgm:prSet>
      <dgm:spPr/>
    </dgm:pt>
    <dgm:pt modelId="{DAFAAF9D-E00A-EC4F-8607-4C1B6F9C37F3}" type="pres">
      <dgm:prSet presAssocID="{73BE8EEE-E02F-9B45-8526-4085C112CBB5}" presName="dummy" presStyleCnt="0"/>
      <dgm:spPr/>
    </dgm:pt>
    <dgm:pt modelId="{683B4CAD-4CC6-244E-B8A2-9C7032B29163}" type="pres">
      <dgm:prSet presAssocID="{602207B8-8DA3-D04D-BE1B-1B5E462D16B5}" presName="sibTrans" presStyleLbl="sibTrans2D1" presStyleIdx="3" presStyleCnt="6" custLinFactNeighborX="-3036" custLinFactNeighborY="526"/>
      <dgm:spPr/>
    </dgm:pt>
    <dgm:pt modelId="{843622EF-9305-6248-8D9C-A9E666C0DFE3}" type="pres">
      <dgm:prSet presAssocID="{B679BE98-0561-F14B-91E1-246FBB8108C1}" presName="node" presStyleLbl="node1" presStyleIdx="4" presStyleCnt="6" custScaleX="162183" custScaleY="104207" custRadScaleRad="123872" custRadScaleInc="38323">
        <dgm:presLayoutVars>
          <dgm:bulletEnabled val="1"/>
        </dgm:presLayoutVars>
      </dgm:prSet>
      <dgm:spPr/>
    </dgm:pt>
    <dgm:pt modelId="{689D1A65-F92F-AB46-8C0D-E66A92372002}" type="pres">
      <dgm:prSet presAssocID="{B679BE98-0561-F14B-91E1-246FBB8108C1}" presName="dummy" presStyleCnt="0"/>
      <dgm:spPr/>
    </dgm:pt>
    <dgm:pt modelId="{C065362A-4AF3-D145-84E4-2E88E0DEBFC2}" type="pres">
      <dgm:prSet presAssocID="{F19B7908-5535-214A-B909-5545DC47BD69}" presName="sibTrans" presStyleLbl="sibTrans2D1" presStyleIdx="4" presStyleCnt="6"/>
      <dgm:spPr/>
    </dgm:pt>
    <dgm:pt modelId="{57057075-C551-9C42-8DDC-C9637BF8526C}" type="pres">
      <dgm:prSet presAssocID="{D420F853-D521-D448-BCD0-65988B48390E}" presName="node" presStyleLbl="node1" presStyleIdx="5" presStyleCnt="6" custScaleX="164327" custRadScaleRad="129040" custRadScaleInc="-45083">
        <dgm:presLayoutVars>
          <dgm:bulletEnabled val="1"/>
        </dgm:presLayoutVars>
      </dgm:prSet>
      <dgm:spPr/>
    </dgm:pt>
    <dgm:pt modelId="{7FC56101-6CE1-D545-BCE8-47B68C85BDEE}" type="pres">
      <dgm:prSet presAssocID="{D420F853-D521-D448-BCD0-65988B48390E}" presName="dummy" presStyleCnt="0"/>
      <dgm:spPr/>
    </dgm:pt>
    <dgm:pt modelId="{E46F5744-16BC-424D-907E-39EA67C859A3}" type="pres">
      <dgm:prSet presAssocID="{AB82C964-89D3-5343-9050-2BD8B1027DAE}" presName="sibTrans" presStyleLbl="sibTrans2D1" presStyleIdx="5" presStyleCnt="6" custLinFactNeighborX="1225" custLinFactNeighborY="-2581"/>
      <dgm:spPr/>
    </dgm:pt>
  </dgm:ptLst>
  <dgm:cxnLst>
    <dgm:cxn modelId="{7FD9B90F-18E5-4288-B024-E861E179F8B7}" type="presOf" srcId="{8A6CF74C-BA55-D147-BAB8-887702E75DEC}" destId="{B0D2EF71-6289-3E40-AF7C-9C37A8AE9F6D}" srcOrd="0" destOrd="0" presId="urn:microsoft.com/office/officeart/2005/8/layout/radial6"/>
    <dgm:cxn modelId="{9321D714-ACBB-4145-A950-0BB135DFFAA6}" type="presOf" srcId="{432E3089-390E-7E4C-A4F5-FF20B4BA4786}" destId="{EF681B2E-969B-3441-92CC-1F5B48B55093}" srcOrd="0" destOrd="0" presId="urn:microsoft.com/office/officeart/2005/8/layout/radial6"/>
    <dgm:cxn modelId="{DD473D28-94D6-4122-BBB8-965CA3AF897C}" type="presOf" srcId="{AB82C964-89D3-5343-9050-2BD8B1027DAE}" destId="{E46F5744-16BC-424D-907E-39EA67C859A3}" srcOrd="0" destOrd="0" presId="urn:microsoft.com/office/officeart/2005/8/layout/radial6"/>
    <dgm:cxn modelId="{005C8228-2298-4A04-B791-4F4697FBB1D0}" type="presOf" srcId="{DE14BCB3-DD01-6242-84FF-E9F80028A95B}" destId="{3FBED24C-C1C4-B545-B834-4636A3E6C972}" srcOrd="0" destOrd="0" presId="urn:microsoft.com/office/officeart/2005/8/layout/radial6"/>
    <dgm:cxn modelId="{263A342F-F243-48BD-8E59-10EE4802EA8B}" type="presOf" srcId="{602207B8-8DA3-D04D-BE1B-1B5E462D16B5}" destId="{683B4CAD-4CC6-244E-B8A2-9C7032B29163}" srcOrd="0" destOrd="0" presId="urn:microsoft.com/office/officeart/2005/8/layout/radial6"/>
    <dgm:cxn modelId="{A4638F62-FFC8-4F9E-A632-9B3D910920D9}" type="presOf" srcId="{F9587B9D-A772-9749-94EE-47F8F83F7304}" destId="{7F2A3F07-9BEF-654A-B83D-00932EB81931}" srcOrd="0" destOrd="0" presId="urn:microsoft.com/office/officeart/2005/8/layout/radial6"/>
    <dgm:cxn modelId="{02996045-64CE-4FF2-A766-FF55AB990FA6}" type="presOf" srcId="{73BE8EEE-E02F-9B45-8526-4085C112CBB5}" destId="{C1DBB751-2493-454A-992C-B16041302E30}" srcOrd="0" destOrd="0" presId="urn:microsoft.com/office/officeart/2005/8/layout/radial6"/>
    <dgm:cxn modelId="{B5540067-6B73-6D40-BED7-5556A37FBCF3}" srcId="{F9587B9D-A772-9749-94EE-47F8F83F7304}" destId="{D420F853-D521-D448-BCD0-65988B48390E}" srcOrd="5" destOrd="0" parTransId="{192A724F-634D-E942-B77B-CAF0838B8A2E}" sibTransId="{AB82C964-89D3-5343-9050-2BD8B1027DAE}"/>
    <dgm:cxn modelId="{91A45E4D-A445-8D47-9CD6-5452F6DAA831}" srcId="{F9587B9D-A772-9749-94EE-47F8F83F7304}" destId="{B679BE98-0561-F14B-91E1-246FBB8108C1}" srcOrd="4" destOrd="0" parTransId="{C9B5274E-B5E2-9748-818E-FDD4D86F80FA}" sibTransId="{F19B7908-5535-214A-B909-5545DC47BD69}"/>
    <dgm:cxn modelId="{9233DF6F-10F7-1D44-B651-1DB9F0E87AE4}" srcId="{F9587B9D-A772-9749-94EE-47F8F83F7304}" destId="{08F95510-5F9B-0F4A-96C7-D538ABD7C0C6}" srcOrd="1" destOrd="0" parTransId="{BBB9EC78-EF18-994A-A42E-5CB255F99B70}" sibTransId="{024C02F5-C54C-1C49-8F7C-4C4602F08AFD}"/>
    <dgm:cxn modelId="{409AE451-0D82-46A3-8AE5-72936FEFBCB7}" type="presOf" srcId="{A2DD5E18-4111-A746-BEB6-53C96ED85D0D}" destId="{66ACDCFF-BE1D-F346-BD83-4F4B495A6B6D}" srcOrd="0" destOrd="0" presId="urn:microsoft.com/office/officeart/2005/8/layout/radial6"/>
    <dgm:cxn modelId="{99451455-5B26-734D-9BE2-26BD677F6051}" srcId="{F9587B9D-A772-9749-94EE-47F8F83F7304}" destId="{73BE8EEE-E02F-9B45-8526-4085C112CBB5}" srcOrd="3" destOrd="0" parTransId="{F74DB6AE-03CC-8D42-AD46-CD6328ECD64D}" sibTransId="{602207B8-8DA3-D04D-BE1B-1B5E462D16B5}"/>
    <dgm:cxn modelId="{3C03267B-89BB-454B-B90F-140AE7F86180}" type="presOf" srcId="{B679BE98-0561-F14B-91E1-246FBB8108C1}" destId="{843622EF-9305-6248-8D9C-A9E666C0DFE3}" srcOrd="0" destOrd="0" presId="urn:microsoft.com/office/officeart/2005/8/layout/radial6"/>
    <dgm:cxn modelId="{58789895-3301-47C6-A803-444F5458BADC}" type="presOf" srcId="{08F95510-5F9B-0F4A-96C7-D538ABD7C0C6}" destId="{A692A467-F063-824B-8149-5555F3F3DE53}" srcOrd="0" destOrd="0" presId="urn:microsoft.com/office/officeart/2005/8/layout/radial6"/>
    <dgm:cxn modelId="{CED7EAA6-EEAC-450C-AF79-7153AD4E1FEE}" type="presOf" srcId="{90EF77BA-21C2-4545-85F0-0ED40B98CCC8}" destId="{2FEC1885-FF06-E040-B2F5-5CFDCF4B872F}" srcOrd="0" destOrd="0" presId="urn:microsoft.com/office/officeart/2005/8/layout/radial6"/>
    <dgm:cxn modelId="{168157AE-1E5F-41F2-BD2B-B968BF75628A}" type="presOf" srcId="{024C02F5-C54C-1C49-8F7C-4C4602F08AFD}" destId="{3E0B8700-DD6F-0843-8490-8872762B7490}" srcOrd="0" destOrd="0" presId="urn:microsoft.com/office/officeart/2005/8/layout/radial6"/>
    <dgm:cxn modelId="{CC56F0B1-B7BC-E741-A2AB-8849C89FBD23}" srcId="{F9587B9D-A772-9749-94EE-47F8F83F7304}" destId="{DE14BCB3-DD01-6242-84FF-E9F80028A95B}" srcOrd="2" destOrd="0" parTransId="{B76E260B-5C47-C048-8B32-B99783898FEE}" sibTransId="{A2DD5E18-4111-A746-BEB6-53C96ED85D0D}"/>
    <dgm:cxn modelId="{A05C08B5-62D3-41F4-9180-C88D70A30925}" type="presOf" srcId="{D420F853-D521-D448-BCD0-65988B48390E}" destId="{57057075-C551-9C42-8DDC-C9637BF8526C}" srcOrd="0" destOrd="0" presId="urn:microsoft.com/office/officeart/2005/8/layout/radial6"/>
    <dgm:cxn modelId="{C420A8B6-599A-43A7-9EB0-B0E9DCBB981C}" type="presOf" srcId="{F19B7908-5535-214A-B909-5545DC47BD69}" destId="{C065362A-4AF3-D145-84E4-2E88E0DEBFC2}" srcOrd="0" destOrd="0" presId="urn:microsoft.com/office/officeart/2005/8/layout/radial6"/>
    <dgm:cxn modelId="{163B4BD2-C1E2-304A-8E7F-617CAD1F23D0}" srcId="{432E3089-390E-7E4C-A4F5-FF20B4BA4786}" destId="{F9587B9D-A772-9749-94EE-47F8F83F7304}" srcOrd="0" destOrd="0" parTransId="{29CCA57A-6D61-4C4F-861C-A4FC11D3A329}" sibTransId="{CD23B0F1-DD56-F241-AD81-7AFB04E5178D}"/>
    <dgm:cxn modelId="{AD9F0BD3-61D7-C44F-B85D-0C5652697EA7}" srcId="{F9587B9D-A772-9749-94EE-47F8F83F7304}" destId="{90EF77BA-21C2-4545-85F0-0ED40B98CCC8}" srcOrd="0" destOrd="0" parTransId="{A29175E0-EAA0-4044-AFDA-9C9EA9DF8F82}" sibTransId="{8A6CF74C-BA55-D147-BAB8-887702E75DEC}"/>
    <dgm:cxn modelId="{62104A0E-FFA1-4AFD-93B1-8D8EF0CAC5A8}" type="presParOf" srcId="{EF681B2E-969B-3441-92CC-1F5B48B55093}" destId="{7F2A3F07-9BEF-654A-B83D-00932EB81931}" srcOrd="0" destOrd="0" presId="urn:microsoft.com/office/officeart/2005/8/layout/radial6"/>
    <dgm:cxn modelId="{E8B4D218-E8B6-4FE6-ACA9-0058E6B6E584}" type="presParOf" srcId="{EF681B2E-969B-3441-92CC-1F5B48B55093}" destId="{2FEC1885-FF06-E040-B2F5-5CFDCF4B872F}" srcOrd="1" destOrd="0" presId="urn:microsoft.com/office/officeart/2005/8/layout/radial6"/>
    <dgm:cxn modelId="{F3C704B2-265C-4268-8837-7A643CD697DD}" type="presParOf" srcId="{EF681B2E-969B-3441-92CC-1F5B48B55093}" destId="{3D10A278-A2EF-554C-ADCB-5D99570FF8A8}" srcOrd="2" destOrd="0" presId="urn:microsoft.com/office/officeart/2005/8/layout/radial6"/>
    <dgm:cxn modelId="{8C6FF8E6-0E2E-4E3F-B3D9-8E98F63CB3C9}" type="presParOf" srcId="{EF681B2E-969B-3441-92CC-1F5B48B55093}" destId="{B0D2EF71-6289-3E40-AF7C-9C37A8AE9F6D}" srcOrd="3" destOrd="0" presId="urn:microsoft.com/office/officeart/2005/8/layout/radial6"/>
    <dgm:cxn modelId="{E577A7FA-FE17-4EA7-A07B-F15EC68019A3}" type="presParOf" srcId="{EF681B2E-969B-3441-92CC-1F5B48B55093}" destId="{A692A467-F063-824B-8149-5555F3F3DE53}" srcOrd="4" destOrd="0" presId="urn:microsoft.com/office/officeart/2005/8/layout/radial6"/>
    <dgm:cxn modelId="{110F455C-9B03-4D6F-9478-7ED9D22E9DE4}" type="presParOf" srcId="{EF681B2E-969B-3441-92CC-1F5B48B55093}" destId="{B543CF7D-F214-A24B-901C-9F06C12507A3}" srcOrd="5" destOrd="0" presId="urn:microsoft.com/office/officeart/2005/8/layout/radial6"/>
    <dgm:cxn modelId="{57CB568C-307D-4D1E-B13E-5C1161BE3C2B}" type="presParOf" srcId="{EF681B2E-969B-3441-92CC-1F5B48B55093}" destId="{3E0B8700-DD6F-0843-8490-8872762B7490}" srcOrd="6" destOrd="0" presId="urn:microsoft.com/office/officeart/2005/8/layout/radial6"/>
    <dgm:cxn modelId="{D1752FA4-1779-47B0-997D-0D7B334ABD5A}" type="presParOf" srcId="{EF681B2E-969B-3441-92CC-1F5B48B55093}" destId="{3FBED24C-C1C4-B545-B834-4636A3E6C972}" srcOrd="7" destOrd="0" presId="urn:microsoft.com/office/officeart/2005/8/layout/radial6"/>
    <dgm:cxn modelId="{D0AC1F3C-1944-4A77-A53A-EDF901C6A107}" type="presParOf" srcId="{EF681B2E-969B-3441-92CC-1F5B48B55093}" destId="{027D7B3D-861E-1145-A2EB-C66A193BB4FC}" srcOrd="8" destOrd="0" presId="urn:microsoft.com/office/officeart/2005/8/layout/radial6"/>
    <dgm:cxn modelId="{2AF7B628-AB83-4369-8174-A8122A1423E3}" type="presParOf" srcId="{EF681B2E-969B-3441-92CC-1F5B48B55093}" destId="{66ACDCFF-BE1D-F346-BD83-4F4B495A6B6D}" srcOrd="9" destOrd="0" presId="urn:microsoft.com/office/officeart/2005/8/layout/radial6"/>
    <dgm:cxn modelId="{12204C55-45C8-4F19-9B9A-6C1927386047}" type="presParOf" srcId="{EF681B2E-969B-3441-92CC-1F5B48B55093}" destId="{C1DBB751-2493-454A-992C-B16041302E30}" srcOrd="10" destOrd="0" presId="urn:microsoft.com/office/officeart/2005/8/layout/radial6"/>
    <dgm:cxn modelId="{051DAE49-E1EC-427C-A3D1-306E7E0564C9}" type="presParOf" srcId="{EF681B2E-969B-3441-92CC-1F5B48B55093}" destId="{DAFAAF9D-E00A-EC4F-8607-4C1B6F9C37F3}" srcOrd="11" destOrd="0" presId="urn:microsoft.com/office/officeart/2005/8/layout/radial6"/>
    <dgm:cxn modelId="{19B63052-1ACC-4C7F-8626-5392D8E5F689}" type="presParOf" srcId="{EF681B2E-969B-3441-92CC-1F5B48B55093}" destId="{683B4CAD-4CC6-244E-B8A2-9C7032B29163}" srcOrd="12" destOrd="0" presId="urn:microsoft.com/office/officeart/2005/8/layout/radial6"/>
    <dgm:cxn modelId="{68FFE3BB-600C-4135-8105-918531BF52CB}" type="presParOf" srcId="{EF681B2E-969B-3441-92CC-1F5B48B55093}" destId="{843622EF-9305-6248-8D9C-A9E666C0DFE3}" srcOrd="13" destOrd="0" presId="urn:microsoft.com/office/officeart/2005/8/layout/radial6"/>
    <dgm:cxn modelId="{8FF63A67-9DEC-498E-B71A-ED771CA425E1}" type="presParOf" srcId="{EF681B2E-969B-3441-92CC-1F5B48B55093}" destId="{689D1A65-F92F-AB46-8C0D-E66A92372002}" srcOrd="14" destOrd="0" presId="urn:microsoft.com/office/officeart/2005/8/layout/radial6"/>
    <dgm:cxn modelId="{462CC83D-FD4F-4F74-9F79-609524FFBCDF}" type="presParOf" srcId="{EF681B2E-969B-3441-92CC-1F5B48B55093}" destId="{C065362A-4AF3-D145-84E4-2E88E0DEBFC2}" srcOrd="15" destOrd="0" presId="urn:microsoft.com/office/officeart/2005/8/layout/radial6"/>
    <dgm:cxn modelId="{E3795066-C194-4F78-9C42-1A25D1DA0F91}" type="presParOf" srcId="{EF681B2E-969B-3441-92CC-1F5B48B55093}" destId="{57057075-C551-9C42-8DDC-C9637BF8526C}" srcOrd="16" destOrd="0" presId="urn:microsoft.com/office/officeart/2005/8/layout/radial6"/>
    <dgm:cxn modelId="{E55AAB8C-8AD0-42FC-9C0B-B28E188A881B}" type="presParOf" srcId="{EF681B2E-969B-3441-92CC-1F5B48B55093}" destId="{7FC56101-6CE1-D545-BCE8-47B68C85BDEE}" srcOrd="17" destOrd="0" presId="urn:microsoft.com/office/officeart/2005/8/layout/radial6"/>
    <dgm:cxn modelId="{11E7DDF2-B9BC-44FF-A33F-C7B026868465}" type="presParOf" srcId="{EF681B2E-969B-3441-92CC-1F5B48B55093}" destId="{E46F5744-16BC-424D-907E-39EA67C859A3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4188717-651C-7A4C-BB09-6C9B92400A25}" type="doc">
      <dgm:prSet loTypeId="urn:microsoft.com/office/officeart/2005/8/layout/vList6" loCatId="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B4DB2603-06EB-BC43-B5E3-113B7C63FE26}">
      <dgm:prSet phldrT="[Text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gm:spPr>
      <dgm:t>
        <a:bodyPr/>
        <a:lstStyle/>
        <a:p>
          <a:r>
            <a:rPr lang="en-US" sz="2800" dirty="0"/>
            <a:t>Assessment report </a:t>
          </a:r>
        </a:p>
      </dgm:t>
    </dgm:pt>
    <dgm:pt modelId="{DBBD48BD-8CF6-7047-A7DE-00D90859FAC9}" type="parTrans" cxnId="{F4BC559D-0B71-A74C-BAE2-AB153E5307A1}">
      <dgm:prSet/>
      <dgm:spPr/>
      <dgm:t>
        <a:bodyPr/>
        <a:lstStyle/>
        <a:p>
          <a:endParaRPr lang="en-US"/>
        </a:p>
      </dgm:t>
    </dgm:pt>
    <dgm:pt modelId="{D83230A6-1D16-A448-B375-45EF3CB0350C}" type="sibTrans" cxnId="{F4BC559D-0B71-A74C-BAE2-AB153E5307A1}">
      <dgm:prSet/>
      <dgm:spPr/>
      <dgm:t>
        <a:bodyPr/>
        <a:lstStyle/>
        <a:p>
          <a:endParaRPr lang="en-US"/>
        </a:p>
      </dgm:t>
    </dgm:pt>
    <dgm:pt modelId="{CC023DF6-14DF-7C40-AF7C-1C188CEFFDAF}">
      <dgm:prSet phldrT="[Text]" custT="1"/>
      <dgm:spPr>
        <a:ln>
          <a:noFill/>
        </a:ln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Generated from POC Database on testing &amp; error trends or equivalent report</a:t>
          </a:r>
        </a:p>
      </dgm:t>
    </dgm:pt>
    <dgm:pt modelId="{C8B42E5B-AE49-F64F-B7C8-ED431383B9E3}" type="parTrans" cxnId="{853F5118-A94C-2C4F-BED7-A01C871F0EDB}">
      <dgm:prSet/>
      <dgm:spPr/>
      <dgm:t>
        <a:bodyPr/>
        <a:lstStyle/>
        <a:p>
          <a:endParaRPr lang="en-US"/>
        </a:p>
      </dgm:t>
    </dgm:pt>
    <dgm:pt modelId="{785C02B5-BCDB-FF41-A3CD-E5C70D62B72F}" type="sibTrans" cxnId="{853F5118-A94C-2C4F-BED7-A01C871F0EDB}">
      <dgm:prSet/>
      <dgm:spPr/>
      <dgm:t>
        <a:bodyPr/>
        <a:lstStyle/>
        <a:p>
          <a:endParaRPr lang="en-US"/>
        </a:p>
      </dgm:t>
    </dgm:pt>
    <dgm:pt modelId="{50A9B0DC-C5BA-2B4D-A948-FC64826BA831}">
      <dgm:prSet phldrT="[Text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gm:spPr>
      <dgm:t>
        <a:bodyPr/>
        <a:lstStyle/>
        <a:p>
          <a:r>
            <a:rPr lang="en-US" sz="2800" dirty="0"/>
            <a:t>Supervision</a:t>
          </a:r>
        </a:p>
      </dgm:t>
    </dgm:pt>
    <dgm:pt modelId="{7F914178-4CA2-3947-BFC6-85E6F9CB5ACF}" type="parTrans" cxnId="{8D7A4ABC-4274-CB4F-981B-9F046427EFDF}">
      <dgm:prSet/>
      <dgm:spPr/>
      <dgm:t>
        <a:bodyPr/>
        <a:lstStyle/>
        <a:p>
          <a:endParaRPr lang="en-US"/>
        </a:p>
      </dgm:t>
    </dgm:pt>
    <dgm:pt modelId="{1C12A36E-1B9A-884C-8E41-D209C2B02CD0}" type="sibTrans" cxnId="{8D7A4ABC-4274-CB4F-981B-9F046427EFDF}">
      <dgm:prSet/>
      <dgm:spPr/>
      <dgm:t>
        <a:bodyPr/>
        <a:lstStyle/>
        <a:p>
          <a:endParaRPr lang="en-US"/>
        </a:p>
      </dgm:t>
    </dgm:pt>
    <dgm:pt modelId="{744C76E1-B683-894B-8279-FB5EC246B705}">
      <dgm:prSet phldrT="[Text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gm:spPr>
      <dgm:t>
        <a:bodyPr/>
        <a:lstStyle/>
        <a:p>
          <a:r>
            <a:rPr lang="en-US" sz="2800" dirty="0"/>
            <a:t>Mentorship</a:t>
          </a:r>
        </a:p>
      </dgm:t>
    </dgm:pt>
    <dgm:pt modelId="{03429422-3451-F749-B9B0-3B14EB292683}" type="parTrans" cxnId="{C7739978-6E5C-1B4E-A842-846AEF78A5E8}">
      <dgm:prSet/>
      <dgm:spPr/>
      <dgm:t>
        <a:bodyPr/>
        <a:lstStyle/>
        <a:p>
          <a:endParaRPr lang="en-US"/>
        </a:p>
      </dgm:t>
    </dgm:pt>
    <dgm:pt modelId="{AB24E06C-0A5D-6E45-8FCC-C7E95240908D}" type="sibTrans" cxnId="{C7739978-6E5C-1B4E-A842-846AEF78A5E8}">
      <dgm:prSet/>
      <dgm:spPr/>
      <dgm:t>
        <a:bodyPr/>
        <a:lstStyle/>
        <a:p>
          <a:endParaRPr lang="en-US"/>
        </a:p>
      </dgm:t>
    </dgm:pt>
    <dgm:pt modelId="{E12B55CC-A81E-9848-810F-52D8D10EEC2D}">
      <dgm:prSet phldrT="[Text]" custT="1"/>
      <dgm:spPr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Carried out by trained Lab Tech on a need basis</a:t>
          </a:r>
        </a:p>
      </dgm:t>
    </dgm:pt>
    <dgm:pt modelId="{9A2A8BB5-7E13-EB4A-A320-3210CD8F00F4}" type="parTrans" cxnId="{9AA5AC91-C6CC-564E-B2D2-3533AFD1A00A}">
      <dgm:prSet/>
      <dgm:spPr/>
      <dgm:t>
        <a:bodyPr/>
        <a:lstStyle/>
        <a:p>
          <a:endParaRPr lang="en-US"/>
        </a:p>
      </dgm:t>
    </dgm:pt>
    <dgm:pt modelId="{C7E93D2F-F745-AF4F-B002-8207D86F20E4}" type="sibTrans" cxnId="{9AA5AC91-C6CC-564E-B2D2-3533AFD1A00A}">
      <dgm:prSet/>
      <dgm:spPr/>
      <dgm:t>
        <a:bodyPr/>
        <a:lstStyle/>
        <a:p>
          <a:endParaRPr lang="en-US"/>
        </a:p>
      </dgm:t>
    </dgm:pt>
    <dgm:pt modelId="{2806409C-1E68-F447-A5BC-389272211F51}">
      <dgm:prSet phldrT="[Text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Every quarter or every 6 months  (depends on the agreed # of cycle)</a:t>
          </a:r>
        </a:p>
      </dgm:t>
    </dgm:pt>
    <dgm:pt modelId="{DAB5C924-6C42-DC4A-9478-BD5DD1C5850C}" type="parTrans" cxnId="{CA29B4F0-87CF-4847-8FDD-8804010B3BF1}">
      <dgm:prSet/>
      <dgm:spPr/>
      <dgm:t>
        <a:bodyPr/>
        <a:lstStyle/>
        <a:p>
          <a:endParaRPr lang="en-US"/>
        </a:p>
      </dgm:t>
    </dgm:pt>
    <dgm:pt modelId="{77BB7D64-08B1-0940-97A6-B3DBBF7BD3E2}" type="sibTrans" cxnId="{CA29B4F0-87CF-4847-8FDD-8804010B3BF1}">
      <dgm:prSet/>
      <dgm:spPr/>
      <dgm:t>
        <a:bodyPr/>
        <a:lstStyle/>
        <a:p>
          <a:endParaRPr lang="en-US"/>
        </a:p>
      </dgm:t>
    </dgm:pt>
    <dgm:pt modelId="{51915B3B-B581-2446-9F55-E53BA9B95637}">
      <dgm:prSet phldrT="[Text]" custT="1"/>
      <dgm:spPr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Based on the supervision/data report findings and Test performance result </a:t>
          </a:r>
        </a:p>
      </dgm:t>
    </dgm:pt>
    <dgm:pt modelId="{303E4515-380B-4441-8BE6-C1CA08E58896}" type="parTrans" cxnId="{36532A43-992F-1641-BF53-8C2F4992223D}">
      <dgm:prSet/>
      <dgm:spPr/>
      <dgm:t>
        <a:bodyPr/>
        <a:lstStyle/>
        <a:p>
          <a:endParaRPr lang="en-US"/>
        </a:p>
      </dgm:t>
    </dgm:pt>
    <dgm:pt modelId="{222DF643-2179-EE40-81B5-3BC1E1DD3A27}" type="sibTrans" cxnId="{36532A43-992F-1641-BF53-8C2F4992223D}">
      <dgm:prSet/>
      <dgm:spPr/>
      <dgm:t>
        <a:bodyPr/>
        <a:lstStyle/>
        <a:p>
          <a:endParaRPr lang="en-US"/>
        </a:p>
      </dgm:t>
    </dgm:pt>
    <dgm:pt modelId="{E68191CF-5A27-1849-B87A-6A633AFAF443}">
      <dgm:prSet phldrT="[Text]" custT="1"/>
      <dgm:spPr>
        <a:ln>
          <a:noFill/>
        </a:ln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To be used during site supervision </a:t>
          </a:r>
        </a:p>
      </dgm:t>
    </dgm:pt>
    <dgm:pt modelId="{635B35B8-7879-0443-9478-6912BB7642FA}" type="parTrans" cxnId="{2970FD74-186F-A14F-8B18-859F516559D2}">
      <dgm:prSet/>
      <dgm:spPr/>
      <dgm:t>
        <a:bodyPr/>
        <a:lstStyle/>
        <a:p>
          <a:endParaRPr lang="en-US"/>
        </a:p>
      </dgm:t>
    </dgm:pt>
    <dgm:pt modelId="{9E0182C8-61B4-8947-85E9-8A715C16EE42}" type="sibTrans" cxnId="{2970FD74-186F-A14F-8B18-859F516559D2}">
      <dgm:prSet/>
      <dgm:spPr/>
      <dgm:t>
        <a:bodyPr/>
        <a:lstStyle/>
        <a:p>
          <a:endParaRPr lang="en-US"/>
        </a:p>
      </dgm:t>
    </dgm:pt>
    <dgm:pt modelId="{493A645A-573E-4683-8FAF-65412E00C415}">
      <dgm:prSet phldrT="[Text]"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gm:spPr>
      <dgm:t>
        <a:bodyPr anchor="ctr"/>
        <a:lstStyle/>
        <a:p>
          <a:r>
            <a:rPr lang="en-US" sz="2000" dirty="0"/>
            <a:t>Carried out by trained Lab Tech/Lab coordinator  using the POC supervision and mentorship checklist </a:t>
          </a:r>
        </a:p>
      </dgm:t>
    </dgm:pt>
    <dgm:pt modelId="{5A3DED99-1C1F-412E-A504-FE65E9A5D837}" type="parTrans" cxnId="{444FFF00-2E08-4C0C-94A1-885F07F73331}">
      <dgm:prSet/>
      <dgm:spPr/>
      <dgm:t>
        <a:bodyPr/>
        <a:lstStyle/>
        <a:p>
          <a:endParaRPr lang="en-US"/>
        </a:p>
      </dgm:t>
    </dgm:pt>
    <dgm:pt modelId="{16B29C57-E1F8-4E5A-8958-B361F04AAF1D}" type="sibTrans" cxnId="{444FFF00-2E08-4C0C-94A1-885F07F73331}">
      <dgm:prSet/>
      <dgm:spPr/>
      <dgm:t>
        <a:bodyPr/>
        <a:lstStyle/>
        <a:p>
          <a:endParaRPr lang="en-US"/>
        </a:p>
      </dgm:t>
    </dgm:pt>
    <dgm:pt modelId="{0987FB08-3B7C-2B4E-97E3-51F034E5A9BF}" type="pres">
      <dgm:prSet presAssocID="{44188717-651C-7A4C-BB09-6C9B92400A25}" presName="Name0" presStyleCnt="0">
        <dgm:presLayoutVars>
          <dgm:dir/>
          <dgm:animLvl val="lvl"/>
          <dgm:resizeHandles/>
        </dgm:presLayoutVars>
      </dgm:prSet>
      <dgm:spPr/>
    </dgm:pt>
    <dgm:pt modelId="{155E9076-455B-6E47-BFC2-5FCAEF988A61}" type="pres">
      <dgm:prSet presAssocID="{B4DB2603-06EB-BC43-B5E3-113B7C63FE26}" presName="linNode" presStyleCnt="0"/>
      <dgm:spPr/>
    </dgm:pt>
    <dgm:pt modelId="{2945DFF1-DE96-2649-8A65-C84603BAD08A}" type="pres">
      <dgm:prSet presAssocID="{B4DB2603-06EB-BC43-B5E3-113B7C63FE26}" presName="parentShp" presStyleLbl="node1" presStyleIdx="0" presStyleCnt="3">
        <dgm:presLayoutVars>
          <dgm:bulletEnabled val="1"/>
        </dgm:presLayoutVars>
      </dgm:prSet>
      <dgm:spPr/>
    </dgm:pt>
    <dgm:pt modelId="{BE79E152-FBA1-0144-8C0A-25B3D2344064}" type="pres">
      <dgm:prSet presAssocID="{B4DB2603-06EB-BC43-B5E3-113B7C63FE26}" presName="childShp" presStyleLbl="bgAccFollowNode1" presStyleIdx="0" presStyleCnt="3" custScaleY="116158">
        <dgm:presLayoutVars>
          <dgm:bulletEnabled val="1"/>
        </dgm:presLayoutVars>
      </dgm:prSet>
      <dgm:spPr/>
    </dgm:pt>
    <dgm:pt modelId="{CE52E2CA-3A08-A046-8393-DCABF7E3F7D7}" type="pres">
      <dgm:prSet presAssocID="{D83230A6-1D16-A448-B375-45EF3CB0350C}" presName="spacing" presStyleCnt="0"/>
      <dgm:spPr/>
    </dgm:pt>
    <dgm:pt modelId="{C5B39C92-200F-8A4F-8752-EBD7EED04A60}" type="pres">
      <dgm:prSet presAssocID="{50A9B0DC-C5BA-2B4D-A948-FC64826BA831}" presName="linNode" presStyleCnt="0"/>
      <dgm:spPr/>
    </dgm:pt>
    <dgm:pt modelId="{EC7F0F0A-AA98-4447-888F-D2E23E047BEE}" type="pres">
      <dgm:prSet presAssocID="{50A9B0DC-C5BA-2B4D-A948-FC64826BA831}" presName="parentShp" presStyleLbl="node1" presStyleIdx="1" presStyleCnt="3" custScaleY="116137">
        <dgm:presLayoutVars>
          <dgm:bulletEnabled val="1"/>
        </dgm:presLayoutVars>
      </dgm:prSet>
      <dgm:spPr/>
    </dgm:pt>
    <dgm:pt modelId="{CD0E241C-A098-7649-A9B9-BEA138B0DE55}" type="pres">
      <dgm:prSet presAssocID="{50A9B0DC-C5BA-2B4D-A948-FC64826BA831}" presName="childShp" presStyleLbl="bgAccFollowNode1" presStyleIdx="1" presStyleCnt="3" custScaleY="160116">
        <dgm:presLayoutVars>
          <dgm:bulletEnabled val="1"/>
        </dgm:presLayoutVars>
      </dgm:prSet>
      <dgm:spPr/>
    </dgm:pt>
    <dgm:pt modelId="{7A4A77E3-9CD1-4B4F-8D60-0E25C3AF699D}" type="pres">
      <dgm:prSet presAssocID="{1C12A36E-1B9A-884C-8E41-D209C2B02CD0}" presName="spacing" presStyleCnt="0"/>
      <dgm:spPr/>
    </dgm:pt>
    <dgm:pt modelId="{00B37192-C26D-A344-B6BC-32120844613C}" type="pres">
      <dgm:prSet presAssocID="{744C76E1-B683-894B-8279-FB5EC246B705}" presName="linNode" presStyleCnt="0"/>
      <dgm:spPr/>
    </dgm:pt>
    <dgm:pt modelId="{67CA51E0-260C-C242-9B1C-7D9C7D519312}" type="pres">
      <dgm:prSet presAssocID="{744C76E1-B683-894B-8279-FB5EC246B705}" presName="parentShp" presStyleLbl="node1" presStyleIdx="2" presStyleCnt="3">
        <dgm:presLayoutVars>
          <dgm:bulletEnabled val="1"/>
        </dgm:presLayoutVars>
      </dgm:prSet>
      <dgm:spPr/>
    </dgm:pt>
    <dgm:pt modelId="{D588161C-31D3-264A-8269-A02D7607EA54}" type="pres">
      <dgm:prSet presAssocID="{744C76E1-B683-894B-8279-FB5EC246B705}" presName="childShp" presStyleLbl="bgAccFollowNode1" presStyleIdx="2" presStyleCnt="3" custScaleY="120213">
        <dgm:presLayoutVars>
          <dgm:bulletEnabled val="1"/>
        </dgm:presLayoutVars>
      </dgm:prSet>
      <dgm:spPr/>
    </dgm:pt>
  </dgm:ptLst>
  <dgm:cxnLst>
    <dgm:cxn modelId="{444FFF00-2E08-4C0C-94A1-885F07F73331}" srcId="{50A9B0DC-C5BA-2B4D-A948-FC64826BA831}" destId="{493A645A-573E-4683-8FAF-65412E00C415}" srcOrd="0" destOrd="0" parTransId="{5A3DED99-1C1F-412E-A504-FE65E9A5D837}" sibTransId="{16B29C57-E1F8-4E5A-8958-B361F04AAF1D}"/>
    <dgm:cxn modelId="{74F5B714-E1B5-475E-BE2C-F0BFABE3228B}" type="presOf" srcId="{50A9B0DC-C5BA-2B4D-A948-FC64826BA831}" destId="{EC7F0F0A-AA98-4447-888F-D2E23E047BEE}" srcOrd="0" destOrd="0" presId="urn:microsoft.com/office/officeart/2005/8/layout/vList6"/>
    <dgm:cxn modelId="{853F5118-A94C-2C4F-BED7-A01C871F0EDB}" srcId="{B4DB2603-06EB-BC43-B5E3-113B7C63FE26}" destId="{CC023DF6-14DF-7C40-AF7C-1C188CEFFDAF}" srcOrd="0" destOrd="0" parTransId="{C8B42E5B-AE49-F64F-B7C8-ED431383B9E3}" sibTransId="{785C02B5-BCDB-FF41-A3CD-E5C70D62B72F}"/>
    <dgm:cxn modelId="{4463C31C-D1CC-4DE6-89CC-796E85BA644A}" type="presOf" srcId="{B4DB2603-06EB-BC43-B5E3-113B7C63FE26}" destId="{2945DFF1-DE96-2649-8A65-C84603BAD08A}" srcOrd="0" destOrd="0" presId="urn:microsoft.com/office/officeart/2005/8/layout/vList6"/>
    <dgm:cxn modelId="{F7D00525-C3ED-4284-BF10-F0E25FEE4434}" type="presOf" srcId="{CC023DF6-14DF-7C40-AF7C-1C188CEFFDAF}" destId="{BE79E152-FBA1-0144-8C0A-25B3D2344064}" srcOrd="0" destOrd="0" presId="urn:microsoft.com/office/officeart/2005/8/layout/vList6"/>
    <dgm:cxn modelId="{36532A43-992F-1641-BF53-8C2F4992223D}" srcId="{744C76E1-B683-894B-8279-FB5EC246B705}" destId="{51915B3B-B581-2446-9F55-E53BA9B95637}" srcOrd="1" destOrd="0" parTransId="{303E4515-380B-4441-8BE6-C1CA08E58896}" sibTransId="{222DF643-2179-EE40-81B5-3BC1E1DD3A27}"/>
    <dgm:cxn modelId="{77E8FC48-4048-40CF-AB59-9965028B5D47}" type="presOf" srcId="{2806409C-1E68-F447-A5BC-389272211F51}" destId="{CD0E241C-A098-7649-A9B9-BEA138B0DE55}" srcOrd="0" destOrd="1" presId="urn:microsoft.com/office/officeart/2005/8/layout/vList6"/>
    <dgm:cxn modelId="{227E9D6C-526C-4AD2-8CD0-88CDAF7F0B6E}" type="presOf" srcId="{51915B3B-B581-2446-9F55-E53BA9B95637}" destId="{D588161C-31D3-264A-8269-A02D7607EA54}" srcOrd="0" destOrd="1" presId="urn:microsoft.com/office/officeart/2005/8/layout/vList6"/>
    <dgm:cxn modelId="{03ACCE4E-04E9-4812-806A-10FE14E29BB2}" type="presOf" srcId="{744C76E1-B683-894B-8279-FB5EC246B705}" destId="{67CA51E0-260C-C242-9B1C-7D9C7D519312}" srcOrd="0" destOrd="0" presId="urn:microsoft.com/office/officeart/2005/8/layout/vList6"/>
    <dgm:cxn modelId="{2970FD74-186F-A14F-8B18-859F516559D2}" srcId="{B4DB2603-06EB-BC43-B5E3-113B7C63FE26}" destId="{E68191CF-5A27-1849-B87A-6A633AFAF443}" srcOrd="1" destOrd="0" parTransId="{635B35B8-7879-0443-9478-6912BB7642FA}" sibTransId="{9E0182C8-61B4-8947-85E9-8A715C16EE42}"/>
    <dgm:cxn modelId="{C7739978-6E5C-1B4E-A842-846AEF78A5E8}" srcId="{44188717-651C-7A4C-BB09-6C9B92400A25}" destId="{744C76E1-B683-894B-8279-FB5EC246B705}" srcOrd="2" destOrd="0" parTransId="{03429422-3451-F749-B9B0-3B14EB292683}" sibTransId="{AB24E06C-0A5D-6E45-8FCC-C7E95240908D}"/>
    <dgm:cxn modelId="{9AA5AC91-C6CC-564E-B2D2-3533AFD1A00A}" srcId="{744C76E1-B683-894B-8279-FB5EC246B705}" destId="{E12B55CC-A81E-9848-810F-52D8D10EEC2D}" srcOrd="0" destOrd="0" parTransId="{9A2A8BB5-7E13-EB4A-A320-3210CD8F00F4}" sibTransId="{C7E93D2F-F745-AF4F-B002-8207D86F20E4}"/>
    <dgm:cxn modelId="{DBCD999C-C4E6-4543-AC37-8DE2F5894B80}" type="presOf" srcId="{493A645A-573E-4683-8FAF-65412E00C415}" destId="{CD0E241C-A098-7649-A9B9-BEA138B0DE55}" srcOrd="0" destOrd="0" presId="urn:microsoft.com/office/officeart/2005/8/layout/vList6"/>
    <dgm:cxn modelId="{F4BC559D-0B71-A74C-BAE2-AB153E5307A1}" srcId="{44188717-651C-7A4C-BB09-6C9B92400A25}" destId="{B4DB2603-06EB-BC43-B5E3-113B7C63FE26}" srcOrd="0" destOrd="0" parTransId="{DBBD48BD-8CF6-7047-A7DE-00D90859FAC9}" sibTransId="{D83230A6-1D16-A448-B375-45EF3CB0350C}"/>
    <dgm:cxn modelId="{8D7A4ABC-4274-CB4F-981B-9F046427EFDF}" srcId="{44188717-651C-7A4C-BB09-6C9B92400A25}" destId="{50A9B0DC-C5BA-2B4D-A948-FC64826BA831}" srcOrd="1" destOrd="0" parTransId="{7F914178-4CA2-3947-BFC6-85E6F9CB5ACF}" sibTransId="{1C12A36E-1B9A-884C-8E41-D209C2B02CD0}"/>
    <dgm:cxn modelId="{7245D8C3-F645-44B8-B468-54F4A8B6DEF9}" type="presOf" srcId="{E12B55CC-A81E-9848-810F-52D8D10EEC2D}" destId="{D588161C-31D3-264A-8269-A02D7607EA54}" srcOrd="0" destOrd="0" presId="urn:microsoft.com/office/officeart/2005/8/layout/vList6"/>
    <dgm:cxn modelId="{03F8D2DD-B84F-4486-A5D4-6E79B0940C0C}" type="presOf" srcId="{44188717-651C-7A4C-BB09-6C9B92400A25}" destId="{0987FB08-3B7C-2B4E-97E3-51F034E5A9BF}" srcOrd="0" destOrd="0" presId="urn:microsoft.com/office/officeart/2005/8/layout/vList6"/>
    <dgm:cxn modelId="{A03C15E3-0695-4FAD-944E-8AE8AF9964E0}" type="presOf" srcId="{E68191CF-5A27-1849-B87A-6A633AFAF443}" destId="{BE79E152-FBA1-0144-8C0A-25B3D2344064}" srcOrd="0" destOrd="1" presId="urn:microsoft.com/office/officeart/2005/8/layout/vList6"/>
    <dgm:cxn modelId="{CA29B4F0-87CF-4847-8FDD-8804010B3BF1}" srcId="{50A9B0DC-C5BA-2B4D-A948-FC64826BA831}" destId="{2806409C-1E68-F447-A5BC-389272211F51}" srcOrd="1" destOrd="0" parTransId="{DAB5C924-6C42-DC4A-9478-BD5DD1C5850C}" sibTransId="{77BB7D64-08B1-0940-97A6-B3DBBF7BD3E2}"/>
    <dgm:cxn modelId="{D9DD8DA9-3A11-4968-AF4C-8C7C7F12FAB7}" type="presParOf" srcId="{0987FB08-3B7C-2B4E-97E3-51F034E5A9BF}" destId="{155E9076-455B-6E47-BFC2-5FCAEF988A61}" srcOrd="0" destOrd="0" presId="urn:microsoft.com/office/officeart/2005/8/layout/vList6"/>
    <dgm:cxn modelId="{8753C5E2-B3C4-471C-9894-00D1BC85C835}" type="presParOf" srcId="{155E9076-455B-6E47-BFC2-5FCAEF988A61}" destId="{2945DFF1-DE96-2649-8A65-C84603BAD08A}" srcOrd="0" destOrd="0" presId="urn:microsoft.com/office/officeart/2005/8/layout/vList6"/>
    <dgm:cxn modelId="{C99ADD8A-1FC6-4700-86E5-782220BBE892}" type="presParOf" srcId="{155E9076-455B-6E47-BFC2-5FCAEF988A61}" destId="{BE79E152-FBA1-0144-8C0A-25B3D2344064}" srcOrd="1" destOrd="0" presId="urn:microsoft.com/office/officeart/2005/8/layout/vList6"/>
    <dgm:cxn modelId="{A92733F4-F843-47D8-B998-4C0E6CBE8C2D}" type="presParOf" srcId="{0987FB08-3B7C-2B4E-97E3-51F034E5A9BF}" destId="{CE52E2CA-3A08-A046-8393-DCABF7E3F7D7}" srcOrd="1" destOrd="0" presId="urn:microsoft.com/office/officeart/2005/8/layout/vList6"/>
    <dgm:cxn modelId="{5895F282-9388-4C93-A7C8-1A0FC78DF49A}" type="presParOf" srcId="{0987FB08-3B7C-2B4E-97E3-51F034E5A9BF}" destId="{C5B39C92-200F-8A4F-8752-EBD7EED04A60}" srcOrd="2" destOrd="0" presId="urn:microsoft.com/office/officeart/2005/8/layout/vList6"/>
    <dgm:cxn modelId="{761CFC56-A0E9-4555-9A1A-43530687E6AA}" type="presParOf" srcId="{C5B39C92-200F-8A4F-8752-EBD7EED04A60}" destId="{EC7F0F0A-AA98-4447-888F-D2E23E047BEE}" srcOrd="0" destOrd="0" presId="urn:microsoft.com/office/officeart/2005/8/layout/vList6"/>
    <dgm:cxn modelId="{292832DE-8DF1-4FB8-B2D3-BD7F82B78408}" type="presParOf" srcId="{C5B39C92-200F-8A4F-8752-EBD7EED04A60}" destId="{CD0E241C-A098-7649-A9B9-BEA138B0DE55}" srcOrd="1" destOrd="0" presId="urn:microsoft.com/office/officeart/2005/8/layout/vList6"/>
    <dgm:cxn modelId="{A5617D52-3AE4-4DC0-AE1B-2A3C2B004F99}" type="presParOf" srcId="{0987FB08-3B7C-2B4E-97E3-51F034E5A9BF}" destId="{7A4A77E3-9CD1-4B4F-8D60-0E25C3AF699D}" srcOrd="3" destOrd="0" presId="urn:microsoft.com/office/officeart/2005/8/layout/vList6"/>
    <dgm:cxn modelId="{DE0BD8D4-8D97-4786-B850-437F0E733CEE}" type="presParOf" srcId="{0987FB08-3B7C-2B4E-97E3-51F034E5A9BF}" destId="{00B37192-C26D-A344-B6BC-32120844613C}" srcOrd="4" destOrd="0" presId="urn:microsoft.com/office/officeart/2005/8/layout/vList6"/>
    <dgm:cxn modelId="{14E33132-B07C-4028-9953-F8D74A132DAC}" type="presParOf" srcId="{00B37192-C26D-A344-B6BC-32120844613C}" destId="{67CA51E0-260C-C242-9B1C-7D9C7D519312}" srcOrd="0" destOrd="0" presId="urn:microsoft.com/office/officeart/2005/8/layout/vList6"/>
    <dgm:cxn modelId="{573B4A00-BDD2-42FA-8893-67F26486F98F}" type="presParOf" srcId="{00B37192-C26D-A344-B6BC-32120844613C}" destId="{D588161C-31D3-264A-8269-A02D7607EA5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6F5744-16BC-424D-907E-39EA67C859A3}">
      <dsp:nvSpPr>
        <dsp:cNvPr id="0" name=""/>
        <dsp:cNvSpPr/>
      </dsp:nvSpPr>
      <dsp:spPr>
        <a:xfrm>
          <a:off x="2655964" y="403805"/>
          <a:ext cx="4208374" cy="4208374"/>
        </a:xfrm>
        <a:prstGeom prst="blockArc">
          <a:avLst>
            <a:gd name="adj1" fmla="val 12260661"/>
            <a:gd name="adj2" fmla="val 17352767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65362A-4AF3-D145-84E4-2E88E0DEBFC2}">
      <dsp:nvSpPr>
        <dsp:cNvPr id="0" name=""/>
        <dsp:cNvSpPr/>
      </dsp:nvSpPr>
      <dsp:spPr>
        <a:xfrm>
          <a:off x="2605937" y="509042"/>
          <a:ext cx="4208374" cy="4208374"/>
        </a:xfrm>
        <a:prstGeom prst="blockArc">
          <a:avLst>
            <a:gd name="adj1" fmla="val 8910957"/>
            <a:gd name="adj2" fmla="val 12254460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3B4CAD-4CC6-244E-B8A2-9C7032B29163}">
      <dsp:nvSpPr>
        <dsp:cNvPr id="0" name=""/>
        <dsp:cNvSpPr/>
      </dsp:nvSpPr>
      <dsp:spPr>
        <a:xfrm>
          <a:off x="2595252" y="751295"/>
          <a:ext cx="4208374" cy="4208374"/>
        </a:xfrm>
        <a:prstGeom prst="blockArc">
          <a:avLst>
            <a:gd name="adj1" fmla="val 4245640"/>
            <a:gd name="adj2" fmla="val 9327985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ACDCFF-BE1D-F346-BD83-4F4B495A6B6D}">
      <dsp:nvSpPr>
        <dsp:cNvPr id="0" name=""/>
        <dsp:cNvSpPr/>
      </dsp:nvSpPr>
      <dsp:spPr>
        <a:xfrm>
          <a:off x="3905922" y="677338"/>
          <a:ext cx="4208374" cy="4208374"/>
        </a:xfrm>
        <a:prstGeom prst="blockArc">
          <a:avLst>
            <a:gd name="adj1" fmla="val 1682560"/>
            <a:gd name="adj2" fmla="val 6253352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0B8700-DD6F-0843-8490-8872762B7490}">
      <dsp:nvSpPr>
        <dsp:cNvPr id="0" name=""/>
        <dsp:cNvSpPr/>
      </dsp:nvSpPr>
      <dsp:spPr>
        <a:xfrm>
          <a:off x="4010144" y="503011"/>
          <a:ext cx="4208374" cy="4208374"/>
        </a:xfrm>
        <a:prstGeom prst="blockArc">
          <a:avLst>
            <a:gd name="adj1" fmla="val 20156578"/>
            <a:gd name="adj2" fmla="val 2022222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D2EF71-6289-3E40-AF7C-9C37A8AE9F6D}">
      <dsp:nvSpPr>
        <dsp:cNvPr id="0" name=""/>
        <dsp:cNvSpPr/>
      </dsp:nvSpPr>
      <dsp:spPr>
        <a:xfrm>
          <a:off x="3938829" y="494800"/>
          <a:ext cx="4343715" cy="4208374"/>
        </a:xfrm>
        <a:prstGeom prst="blockArc">
          <a:avLst>
            <a:gd name="adj1" fmla="val 14960817"/>
            <a:gd name="adj2" fmla="val 20171595"/>
            <a:gd name="adj3" fmla="val 4533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2A3F07-9BEF-654A-B83D-00932EB81931}">
      <dsp:nvSpPr>
        <dsp:cNvPr id="0" name=""/>
        <dsp:cNvSpPr/>
      </dsp:nvSpPr>
      <dsp:spPr>
        <a:xfrm>
          <a:off x="4086382" y="1820729"/>
          <a:ext cx="2714093" cy="1712970"/>
        </a:xfrm>
        <a:prstGeom prst="ellipse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Quality Assurance for POC EID Testing </a:t>
          </a:r>
        </a:p>
      </dsp:txBody>
      <dsp:txXfrm>
        <a:off x="4483852" y="2071588"/>
        <a:ext cx="1919153" cy="1211252"/>
      </dsp:txXfrm>
    </dsp:sp>
    <dsp:sp modelId="{2FEC1885-FF06-E040-B2F5-5CFDCF4B872F}">
      <dsp:nvSpPr>
        <dsp:cNvPr id="0" name=""/>
        <dsp:cNvSpPr/>
      </dsp:nvSpPr>
      <dsp:spPr>
        <a:xfrm>
          <a:off x="4207098" y="12262"/>
          <a:ext cx="2356493" cy="1324788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raining</a:t>
          </a:r>
          <a:r>
            <a:rPr lang="en-US" sz="1600" kern="1200" baseline="0" dirty="0"/>
            <a:t> and Annual Competency Assessment </a:t>
          </a:r>
          <a:endParaRPr lang="en-US" sz="1600" kern="1200" dirty="0"/>
        </a:p>
      </dsp:txBody>
      <dsp:txXfrm>
        <a:off x="4552198" y="206273"/>
        <a:ext cx="1666293" cy="936766"/>
      </dsp:txXfrm>
    </dsp:sp>
    <dsp:sp modelId="{A692A467-F063-824B-8149-5555F3F3DE53}">
      <dsp:nvSpPr>
        <dsp:cNvPr id="0" name=""/>
        <dsp:cNvSpPr/>
      </dsp:nvSpPr>
      <dsp:spPr>
        <a:xfrm>
          <a:off x="6866195" y="1106483"/>
          <a:ext cx="2252007" cy="1324788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POC EID Testing sites enrolled in EQA proficiency testing</a:t>
          </a:r>
        </a:p>
      </dsp:txBody>
      <dsp:txXfrm>
        <a:off x="7195994" y="1300494"/>
        <a:ext cx="1592409" cy="936766"/>
      </dsp:txXfrm>
    </dsp:sp>
    <dsp:sp modelId="{3FBED24C-C1C4-B545-B834-4636A3E6C972}">
      <dsp:nvSpPr>
        <dsp:cNvPr id="0" name=""/>
        <dsp:cNvSpPr/>
      </dsp:nvSpPr>
      <dsp:spPr>
        <a:xfrm>
          <a:off x="6725652" y="3085950"/>
          <a:ext cx="2199029" cy="1324788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ternal Quality Control built into devices </a:t>
          </a:r>
        </a:p>
      </dsp:txBody>
      <dsp:txXfrm>
        <a:off x="7047692" y="3279961"/>
        <a:ext cx="1554949" cy="936766"/>
      </dsp:txXfrm>
    </dsp:sp>
    <dsp:sp modelId="{C1DBB751-2493-454A-992C-B16041302E30}">
      <dsp:nvSpPr>
        <dsp:cNvPr id="0" name=""/>
        <dsp:cNvSpPr/>
      </dsp:nvSpPr>
      <dsp:spPr>
        <a:xfrm>
          <a:off x="4255636" y="4107658"/>
          <a:ext cx="2498431" cy="1334657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Mentorship/ Supervision Programs </a:t>
          </a:r>
        </a:p>
      </dsp:txBody>
      <dsp:txXfrm>
        <a:off x="4621523" y="4303114"/>
        <a:ext cx="1766657" cy="943745"/>
      </dsp:txXfrm>
    </dsp:sp>
    <dsp:sp modelId="{843622EF-9305-6248-8D9C-A9E666C0DFE3}">
      <dsp:nvSpPr>
        <dsp:cNvPr id="0" name=""/>
        <dsp:cNvSpPr/>
      </dsp:nvSpPr>
      <dsp:spPr>
        <a:xfrm>
          <a:off x="1882085" y="2996996"/>
          <a:ext cx="2148581" cy="1380522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onnectivity</a:t>
          </a:r>
          <a:r>
            <a:rPr lang="en-US" sz="2000" kern="1200" baseline="0" dirty="0"/>
            <a:t> and Stock Management </a:t>
          </a:r>
          <a:endParaRPr lang="en-US" sz="2000" kern="1200" dirty="0"/>
        </a:p>
      </dsp:txBody>
      <dsp:txXfrm>
        <a:off x="2196737" y="3199169"/>
        <a:ext cx="1519277" cy="976176"/>
      </dsp:txXfrm>
    </dsp:sp>
    <dsp:sp modelId="{57057075-C551-9C42-8DDC-C9637BF8526C}">
      <dsp:nvSpPr>
        <dsp:cNvPr id="0" name=""/>
        <dsp:cNvSpPr/>
      </dsp:nvSpPr>
      <dsp:spPr>
        <a:xfrm>
          <a:off x="1746466" y="1106489"/>
          <a:ext cx="2176984" cy="1324788"/>
        </a:xfrm>
        <a:prstGeom prst="ellipse">
          <a:avLst/>
        </a:prstGeom>
        <a:solidFill>
          <a:schemeClr val="accent5"/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 Service&amp; Maintenance Scheme</a:t>
          </a:r>
        </a:p>
      </dsp:txBody>
      <dsp:txXfrm>
        <a:off x="2065278" y="1300500"/>
        <a:ext cx="1539360" cy="9367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79E152-FBA1-0144-8C0A-25B3D2344064}">
      <dsp:nvSpPr>
        <dsp:cNvPr id="0" name=""/>
        <dsp:cNvSpPr/>
      </dsp:nvSpPr>
      <dsp:spPr>
        <a:xfrm>
          <a:off x="4578697" y="1234"/>
          <a:ext cx="6859665" cy="1458624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Generated from POC Database on testing &amp; error trends or equivalent report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To be used during site supervision </a:t>
          </a:r>
        </a:p>
      </dsp:txBody>
      <dsp:txXfrm>
        <a:off x="4578697" y="183562"/>
        <a:ext cx="6312681" cy="1093968"/>
      </dsp:txXfrm>
    </dsp:sp>
    <dsp:sp modelId="{2945DFF1-DE96-2649-8A65-C84603BAD08A}">
      <dsp:nvSpPr>
        <dsp:cNvPr id="0" name=""/>
        <dsp:cNvSpPr/>
      </dsp:nvSpPr>
      <dsp:spPr>
        <a:xfrm>
          <a:off x="5587" y="102684"/>
          <a:ext cx="4573110" cy="1255724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Assessment report </a:t>
          </a:r>
        </a:p>
      </dsp:txBody>
      <dsp:txXfrm>
        <a:off x="66886" y="163983"/>
        <a:ext cx="4450512" cy="1133126"/>
      </dsp:txXfrm>
    </dsp:sp>
    <dsp:sp modelId="{CD0E241C-A098-7649-A9B9-BEA138B0DE55}">
      <dsp:nvSpPr>
        <dsp:cNvPr id="0" name=""/>
        <dsp:cNvSpPr/>
      </dsp:nvSpPr>
      <dsp:spPr>
        <a:xfrm>
          <a:off x="4578697" y="1585431"/>
          <a:ext cx="6859665" cy="2010616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5358427"/>
            <a:satOff val="-6896"/>
            <a:lumOff val="-537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Carried out by trained Lab Tech/Lab coordinator  using the POC supervision and mentorship checklist 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Every quarter or every 6 months  (depends on the agreed # of cycle)</a:t>
          </a:r>
        </a:p>
      </dsp:txBody>
      <dsp:txXfrm>
        <a:off x="4578697" y="1836758"/>
        <a:ext cx="6105684" cy="1507962"/>
      </dsp:txXfrm>
    </dsp:sp>
    <dsp:sp modelId="{EC7F0F0A-AA98-4447-888F-D2E23E047BEE}">
      <dsp:nvSpPr>
        <dsp:cNvPr id="0" name=""/>
        <dsp:cNvSpPr/>
      </dsp:nvSpPr>
      <dsp:spPr>
        <a:xfrm>
          <a:off x="5587" y="1861559"/>
          <a:ext cx="4573110" cy="1458361"/>
        </a:xfrm>
        <a:prstGeom prst="roundRec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Supervision</a:t>
          </a:r>
        </a:p>
      </dsp:txBody>
      <dsp:txXfrm>
        <a:off x="76778" y="1932750"/>
        <a:ext cx="4430728" cy="1315979"/>
      </dsp:txXfrm>
    </dsp:sp>
    <dsp:sp modelId="{D588161C-31D3-264A-8269-A02D7607EA54}">
      <dsp:nvSpPr>
        <dsp:cNvPr id="0" name=""/>
        <dsp:cNvSpPr/>
      </dsp:nvSpPr>
      <dsp:spPr>
        <a:xfrm>
          <a:off x="4578697" y="3721620"/>
          <a:ext cx="6859665" cy="1509544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10716854"/>
            <a:satOff val="-13793"/>
            <a:lumOff val="-1075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Carried out by trained Lab Tech on a need basis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/>
            <a:t>Based on the supervision/data report findings and Test performance result </a:t>
          </a:r>
        </a:p>
      </dsp:txBody>
      <dsp:txXfrm>
        <a:off x="4578697" y="3910313"/>
        <a:ext cx="6293586" cy="1132158"/>
      </dsp:txXfrm>
    </dsp:sp>
    <dsp:sp modelId="{67CA51E0-260C-C242-9B1C-7D9C7D519312}">
      <dsp:nvSpPr>
        <dsp:cNvPr id="0" name=""/>
        <dsp:cNvSpPr/>
      </dsp:nvSpPr>
      <dsp:spPr>
        <a:xfrm>
          <a:off x="5587" y="3848530"/>
          <a:ext cx="4573110" cy="1255724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Mentorship</a:t>
          </a:r>
        </a:p>
      </dsp:txBody>
      <dsp:txXfrm>
        <a:off x="66886" y="3909829"/>
        <a:ext cx="4450512" cy="11331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7C3FB7-DCBC-4447-9AA3-4F19E03A8CD9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307BEB-71E0-4748-B98B-6DA68381FD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571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2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3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4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6CB9D1-A1BA-4CB2-BEC5-66800B41E08A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29013" y="1179513"/>
            <a:ext cx="13874751" cy="7807325"/>
          </a:xfrm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5" y="328612"/>
            <a:ext cx="4052887" cy="234950"/>
          </a:xfrm>
          <a:noFill/>
          <a:ln/>
        </p:spPr>
        <p:txBody>
          <a:bodyPr/>
          <a:lstStyle/>
          <a:p>
            <a:pPr marL="0" indent="0">
              <a:buFont typeface="Arial" pitchFamily="34" charset="0"/>
              <a:buNone/>
            </a:pPr>
            <a:endParaRPr lang="en-GB" dirty="0"/>
          </a:p>
        </p:txBody>
      </p:sp>
      <p:sp>
        <p:nvSpPr>
          <p:cNvPr id="3277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3565" y="1397000"/>
            <a:ext cx="5595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i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2950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4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 and review the SPI-POCT checklist with the participants</a:t>
            </a:r>
            <a:r>
              <a:rPr lang="en-US" baseline="0" dirty="0"/>
              <a:t> </a:t>
            </a:r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ata reports can</a:t>
            </a:r>
            <a:r>
              <a:rPr lang="en-US" baseline="0" dirty="0"/>
              <a:t> be generated in the POC database using testing data transmitted real time via connectivit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812E23-54C3-44D4-9E6B-DD4A564022A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0371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7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8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tool is divided in 3 sections – clinical integration, technical and operational performance,</a:t>
            </a:r>
            <a:r>
              <a:rPr lang="en-US" baseline="0" dirty="0"/>
              <a:t> linkage to care. Go through the tool with the group. </a:t>
            </a:r>
            <a:r>
              <a:rPr lang="en-US" dirty="0"/>
              <a:t> </a:t>
            </a: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20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at POC connectivity</a:t>
            </a:r>
            <a:r>
              <a:rPr lang="en-US" baseline="0" dirty="0"/>
              <a:t> allows program managers at the district/regional level to easily track POC device performance across a large number of sites. For example, if the POC data shows a high error rate at a facility, the program manager can schedule a mentorship visit. Or, if the program manager sees that a facility is conducting a high number of tests, they can schedule a delivery of cartridges to ensure the facility doesn’t stock out. </a:t>
            </a:r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at this is what a program manager </a:t>
            </a:r>
            <a:r>
              <a:rPr lang="en-US" baseline="0" dirty="0"/>
              <a:t>will see when monitoring POC devices remotely. This is </a:t>
            </a:r>
            <a:r>
              <a:rPr lang="en-US" dirty="0"/>
              <a:t>an example is from a POC CD4 dashboard, but the data points will be similar for EID: Testing volume (national</a:t>
            </a:r>
            <a:r>
              <a:rPr lang="en-US" baseline="0" dirty="0"/>
              <a:t> and facility-specific), test results, error rate, error types, fleet overview. The program manager can look at data for the entire fleet of devices across the country or just those in a specific region, or just one device at a single facility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5812E23-54C3-44D4-9E6B-DD4A564022A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9194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6CB9D1-A1BA-4CB2-BEC5-66800B41E08A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29013" y="1179513"/>
            <a:ext cx="13874751" cy="7807325"/>
          </a:xfrm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5" y="328612"/>
            <a:ext cx="4052887" cy="234950"/>
          </a:xfrm>
          <a:noFill/>
          <a:ln/>
        </p:spPr>
        <p:txBody>
          <a:bodyPr/>
          <a:lstStyle/>
          <a:p>
            <a:pPr marL="0" indent="0">
              <a:buFont typeface="Arial" pitchFamily="34" charset="0"/>
              <a:buNone/>
            </a:pPr>
            <a:endParaRPr lang="en-GB" dirty="0"/>
          </a:p>
        </p:txBody>
      </p:sp>
      <p:sp>
        <p:nvSpPr>
          <p:cNvPr id="3277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3565" y="1397000"/>
            <a:ext cx="5595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i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3169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B6CB9D1-A1BA-4CB2-BEC5-66800B41E08A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529013" y="1179513"/>
            <a:ext cx="13874751" cy="7807325"/>
          </a:xfrm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5" y="328612"/>
            <a:ext cx="4052887" cy="234950"/>
          </a:xfrm>
          <a:noFill/>
          <a:ln/>
        </p:spPr>
        <p:txBody>
          <a:bodyPr/>
          <a:lstStyle/>
          <a:p>
            <a:pPr marL="0" indent="0">
              <a:buFont typeface="Arial" pitchFamily="34" charset="0"/>
              <a:buNone/>
            </a:pPr>
            <a:endParaRPr lang="en-GB" dirty="0"/>
          </a:p>
        </p:txBody>
      </p:sp>
      <p:sp>
        <p:nvSpPr>
          <p:cNvPr id="32772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563565" y="1397000"/>
            <a:ext cx="5595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30" tIns="45715" rIns="91430" bIns="45715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b="1" i="1" dirty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460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A2F34A3-72F5-4ABE-803C-8501C53F5509}" type="slidenum">
              <a:rPr lang="en-US"/>
              <a:pPr/>
              <a:t>5</a:t>
            </a:fld>
            <a:endParaRPr lang="en-US"/>
          </a:p>
        </p:txBody>
      </p:sp>
      <p:sp>
        <p:nvSpPr>
          <p:cNvPr id="1049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4960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561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272C0A6-3607-4844-B0E4-3F02FA19EE90}" type="slidenum">
              <a:rPr lang="en-US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79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10792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420016E-0F77-48A5-98AC-E6D3AE37892B}" type="slidenum">
              <a:rPr lang="en-US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533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4412" cy="3429000"/>
          </a:xfrm>
          <a:ln/>
        </p:spPr>
      </p:sp>
      <p:sp>
        <p:nvSpPr>
          <p:cNvPr id="953348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e QA cycle within</a:t>
            </a:r>
            <a:r>
              <a:rPr lang="en-US" baseline="0" dirty="0"/>
              <a:t> the country’s context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8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e country QA context</a:t>
            </a: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9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plain the country QA context</a:t>
            </a:r>
          </a:p>
        </p:txBody>
      </p:sp>
    </p:spTree>
    <p:extLst>
      <p:ext uri="{BB962C8B-B14F-4D97-AF65-F5344CB8AC3E}">
        <p14:creationId xmlns:p14="http://schemas.microsoft.com/office/powerpoint/2010/main" val="3690393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0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00" dirty="0"/>
              <a:t>Discuss these interventions with the audience,</a:t>
            </a:r>
            <a:r>
              <a:rPr lang="en-US" sz="1000" baseline="0" dirty="0"/>
              <a:t> help them to identify </a:t>
            </a:r>
            <a:r>
              <a:rPr lang="en-US" sz="1000" dirty="0"/>
              <a:t>the role they will play in</a:t>
            </a:r>
            <a:r>
              <a:rPr lang="en-US" sz="1000" baseline="0" dirty="0"/>
              <a:t> EQA activities </a:t>
            </a:r>
            <a:endParaRPr lang="en-US" sz="1000" dirty="0"/>
          </a:p>
          <a:p>
            <a:r>
              <a:rPr lang="en-US" sz="1000" dirty="0"/>
              <a:t>On 3-5, identify and agree which central level supervisors will cover each POC EID site to be responsible for EQA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1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scuss and agree</a:t>
            </a:r>
            <a:r>
              <a:rPr lang="en-US" baseline="0" dirty="0"/>
              <a:t> </a:t>
            </a:r>
            <a:r>
              <a:rPr lang="en-US" dirty="0"/>
              <a:t>with trainers as per previous slide </a:t>
            </a: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/>
              <a:t>2007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Module 5: Assuring the Quality of HIV Rapid Testing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CC97D6B-1E1D-4492-808F-30FFBB4E90CA}" type="slidenum">
              <a:rPr lang="en-US"/>
              <a:pPr/>
              <a:t>12</a:t>
            </a:fld>
            <a:endParaRPr lang="en-US"/>
          </a:p>
        </p:txBody>
      </p:sp>
      <p:sp>
        <p:nvSpPr>
          <p:cNvPr id="1054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2588" y="685800"/>
            <a:ext cx="6092825" cy="3429000"/>
          </a:xfrm>
          <a:ln/>
        </p:spPr>
      </p:sp>
      <p:sp>
        <p:nvSpPr>
          <p:cNvPr id="1054724" name="Rectangle 4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41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081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778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2531" y="274648"/>
            <a:ext cx="3656648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590" y="274648"/>
            <a:ext cx="10766795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623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33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B8246E-6FE4-4074-B39E-8FEB5D8FA6E9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CC5156-1D09-4CFB-944C-19DD70992A5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1836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4E7200D-8B27-4191-A139-3558F1E91246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4EB4FE-701A-465E-9D6B-21336C9D652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62427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21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D100CC-4146-4DAB-980D-DA7C849CEFC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4FC9F6-218B-4340-8C21-FC267C629E2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9498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7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7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E746B01-6F6C-41D4-B0D2-EAAB48209C42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25C20B-F27F-4E52-832C-FA1B56F16E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5652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5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5" y="2174875"/>
            <a:ext cx="538551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66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66" y="2174875"/>
            <a:ext cx="538763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CBFEDE5-E36C-40B8-942E-407ACA563D2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E7688A-0D83-46D3-8F8E-886F2989171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818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2A891D4-9C1C-4235-8ED1-D0744A565A9D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50B37E-3E64-4585-BA5C-8EF3F479858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175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8ACF211-DDD0-4CF8-A758-499BEFFF49C7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BCBEB2-0A05-4A4A-A416-78785DC2FE9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746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54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503" y="273058"/>
            <a:ext cx="681389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54" y="1435108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753DB39-B4CF-43CA-8680-D6E84B77106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9E05C9-4101-4401-BEF0-49F019BF55C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916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5218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1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9"/>
            <a:ext cx="73132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6B067B3-AD99-4741-9A95-3C0EB5409636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E7CE8-C4E7-4C9F-A047-A0F42E3B19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4151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22BA8F-B231-4952-87FB-11974DC39D85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CA1A0A-F8E9-4F95-B63E-5462F9AEF2E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4594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46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46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9FD1D2D-9E0E-457A-883E-B30DB9921B19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1AB7FF-A420-467D-9C83-DBE0D30CBA0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7499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"/>
            <a:ext cx="12188825" cy="5165725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3600" b="1" i="1" baseline="-25000">
              <a:solidFill>
                <a:prstClr val="black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50572" y="5868989"/>
            <a:ext cx="2556267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5" name="Rectangle 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48020" y="1373188"/>
            <a:ext cx="10360501" cy="3230562"/>
          </a:xfrm>
          <a:noFill/>
        </p:spPr>
        <p:txBody>
          <a:bodyPr anchor="b"/>
          <a:lstStyle>
            <a:lvl1pPr marL="0" indent="0" algn="l">
              <a:tabLst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7859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8825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147" y="1"/>
            <a:ext cx="11782531" cy="1219199"/>
          </a:xfrm>
        </p:spPr>
        <p:txBody>
          <a:bodyPr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914162" y="1676400"/>
            <a:ext cx="10969943" cy="46482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71516" y="6356351"/>
            <a:ext cx="9141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437959-1618-44A4-9EB4-CCE6EA050C2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61831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411163"/>
            <a:ext cx="10969943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162" y="1752600"/>
            <a:ext cx="10360501" cy="45259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5325" y="6381750"/>
            <a:ext cx="2844059" cy="476250"/>
          </a:xfrm>
        </p:spPr>
        <p:txBody>
          <a:bodyPr/>
          <a:lstStyle>
            <a:lvl1pPr>
              <a:defRPr/>
            </a:lvl1pPr>
          </a:lstStyle>
          <a:p>
            <a:fld id="{AF55044F-8427-4FF6-A2D0-9E76A36B80F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72586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51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B8246E-6FE4-4074-B39E-8FEB5D8FA6E9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CC5156-1D09-4CFB-944C-19DD70992A5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4694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4E7200D-8B27-4191-A139-3558F1E91246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4EB4FE-701A-465E-9D6B-21336C9D652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965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19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22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D100CC-4146-4DAB-980D-DA7C849CEFC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4FC9F6-218B-4340-8C21-FC267C629E2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1358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7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7"/>
            <a:ext cx="538339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E746B01-6F6C-41D4-B0D2-EAAB48209C42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25C20B-F27F-4E52-832C-FA1B56F16E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3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15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22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1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3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4634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5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5" y="2174875"/>
            <a:ext cx="538551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66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66" y="2174875"/>
            <a:ext cx="538763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CBFEDE5-E36C-40B8-942E-407ACA563D2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E7688A-0D83-46D3-8F8E-886F2989171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236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2A891D4-9C1C-4235-8ED1-D0744A565A9D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50B37E-3E64-4585-BA5C-8EF3F479858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3932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8ACF211-DDD0-4CF8-A758-499BEFFF49C7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BCBEB2-0A05-4A4A-A416-78785DC2FE9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0972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66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515" y="273076"/>
            <a:ext cx="681389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66" y="1435113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753DB39-B4CF-43CA-8680-D6E84B77106B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A9E05C9-4101-4401-BEF0-49F019BF55C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6808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1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9"/>
            <a:ext cx="73132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6B067B3-AD99-4741-9A95-3C0EB5409636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E7CE8-C4E7-4C9F-A047-A0F42E3B19A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8336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22BA8F-B231-4952-87FB-11974DC39D85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CA1A0A-F8E9-4F95-B63E-5462F9AEF2E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35462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74664"/>
            <a:ext cx="2742486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74664"/>
            <a:ext cx="802431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9FD1D2D-9E0E-457A-883E-B30DB9921B19}" type="datetimeFigureOut">
              <a:rPr lang="en-US"/>
              <a:pPr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11AB7FF-A420-467D-9C83-DBE0D30CBA0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1524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19"/>
            <a:ext cx="12188825" cy="5165725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fr-FR" sz="3600" b="1" i="1" baseline="-25000">
              <a:solidFill>
                <a:prstClr val="black"/>
              </a:solidFill>
              <a:latin typeface="Arial" charset="0"/>
              <a:ea typeface="ＭＳ Ｐゴシック" charset="-128"/>
            </a:endParaRPr>
          </a:p>
        </p:txBody>
      </p:sp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450572" y="5869007"/>
            <a:ext cx="2556267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5" name="Rectangle 5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48020" y="1373188"/>
            <a:ext cx="10360501" cy="3230562"/>
          </a:xfrm>
          <a:noFill/>
        </p:spPr>
        <p:txBody>
          <a:bodyPr anchor="b"/>
          <a:lstStyle>
            <a:lvl1pPr marL="0" indent="0" algn="l">
              <a:tabLst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16180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88825" cy="1143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147" y="19"/>
            <a:ext cx="11782531" cy="1219199"/>
          </a:xfrm>
        </p:spPr>
        <p:txBody>
          <a:bodyPr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1"/>
          </p:nvPr>
        </p:nvSpPr>
        <p:spPr>
          <a:xfrm>
            <a:off x="914163" y="1676400"/>
            <a:ext cx="10969943" cy="46482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071516" y="6356369"/>
            <a:ext cx="9141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437959-1618-44A4-9EB4-CCE6EA050C23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6946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457200"/>
            <a:ext cx="10969943" cy="13716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441" y="1981200"/>
            <a:ext cx="5383398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981200"/>
            <a:ext cx="5383398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>
          <a:xfrm>
            <a:off x="507868" y="6248400"/>
            <a:ext cx="6703854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Facilities and Safety - Module 2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735326" y="6248400"/>
            <a:ext cx="2844059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B7962-346B-4D13-8283-C198F0244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0085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6"/>
            <a:ext cx="5383398" cy="4525963"/>
          </a:xfrm>
        </p:spPr>
        <p:txBody>
          <a:bodyPr/>
          <a:lstStyle>
            <a:lvl1pPr>
              <a:defRPr sz="2801"/>
            </a:lvl1pPr>
            <a:lvl2pPr>
              <a:defRPr sz="2399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600206"/>
            <a:ext cx="5383398" cy="4525963"/>
          </a:xfrm>
        </p:spPr>
        <p:txBody>
          <a:bodyPr/>
          <a:lstStyle>
            <a:lvl1pPr>
              <a:defRPr sz="2801"/>
            </a:lvl1pPr>
            <a:lvl2pPr>
              <a:defRPr sz="2399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9229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7813"/>
            <a:ext cx="10969943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600206"/>
            <a:ext cx="5383398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5986" y="1600219"/>
            <a:ext cx="5383398" cy="2189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5986" y="3941763"/>
            <a:ext cx="5383398" cy="21891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609441" y="6243638"/>
            <a:ext cx="2844059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C0504D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4164515" y="6248400"/>
            <a:ext cx="3859795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C0504D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735326" y="6243638"/>
            <a:ext cx="2844059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A3C13-A820-4357-BFCC-59E3DCFA5C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8010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411163"/>
            <a:ext cx="10969943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14162" y="1752600"/>
            <a:ext cx="5078677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5986" y="1752600"/>
            <a:ext cx="5078677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5986" y="4091007"/>
            <a:ext cx="5078677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5326" y="6381750"/>
            <a:ext cx="2844059" cy="476250"/>
          </a:xfrm>
        </p:spPr>
        <p:txBody>
          <a:bodyPr/>
          <a:lstStyle>
            <a:lvl1pPr>
              <a:defRPr/>
            </a:lvl1pPr>
          </a:lstStyle>
          <a:p>
            <a:fld id="{E5D4617E-2B45-4D16-A4FA-3BD3A3E1B46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5678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411163"/>
            <a:ext cx="10969943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162" y="1752600"/>
            <a:ext cx="10360501" cy="4525963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5326" y="6381750"/>
            <a:ext cx="2844059" cy="476250"/>
          </a:xfrm>
        </p:spPr>
        <p:txBody>
          <a:bodyPr/>
          <a:lstStyle>
            <a:lvl1pPr>
              <a:defRPr/>
            </a:lvl1pPr>
          </a:lstStyle>
          <a:p>
            <a:fld id="{AF55044F-8427-4FF6-A2D0-9E76A36B80F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9307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441" y="274657"/>
            <a:ext cx="10969943" cy="5851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4F5361-8F38-4C5E-91B1-B7E6C27629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419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3" y="1535113"/>
            <a:ext cx="5385514" cy="63976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215" indent="0">
              <a:buNone/>
              <a:defRPr sz="2000" b="1"/>
            </a:lvl2pPr>
            <a:lvl3pPr marL="914430" indent="0">
              <a:buNone/>
              <a:defRPr sz="1800" b="1"/>
            </a:lvl3pPr>
            <a:lvl4pPr marL="1371645" indent="0">
              <a:buNone/>
              <a:defRPr sz="1600" b="1"/>
            </a:lvl4pPr>
            <a:lvl5pPr marL="1828861" indent="0">
              <a:buNone/>
              <a:defRPr sz="1600" b="1"/>
            </a:lvl5pPr>
            <a:lvl6pPr marL="2286076" indent="0">
              <a:buNone/>
              <a:defRPr sz="1600" b="1"/>
            </a:lvl6pPr>
            <a:lvl7pPr marL="2743291" indent="0">
              <a:buNone/>
              <a:defRPr sz="1600" b="1"/>
            </a:lvl7pPr>
            <a:lvl8pPr marL="3200506" indent="0">
              <a:buNone/>
              <a:defRPr sz="1600" b="1"/>
            </a:lvl8pPr>
            <a:lvl9pPr marL="365772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3" y="2174875"/>
            <a:ext cx="5385514" cy="3951288"/>
          </a:xfrm>
        </p:spPr>
        <p:txBody>
          <a:bodyPr/>
          <a:lstStyle>
            <a:lvl1pPr>
              <a:defRPr sz="2399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61" y="1535113"/>
            <a:ext cx="5387630" cy="63976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215" indent="0">
              <a:buNone/>
              <a:defRPr sz="2000" b="1"/>
            </a:lvl2pPr>
            <a:lvl3pPr marL="914430" indent="0">
              <a:buNone/>
              <a:defRPr sz="1800" b="1"/>
            </a:lvl3pPr>
            <a:lvl4pPr marL="1371645" indent="0">
              <a:buNone/>
              <a:defRPr sz="1600" b="1"/>
            </a:lvl4pPr>
            <a:lvl5pPr marL="1828861" indent="0">
              <a:buNone/>
              <a:defRPr sz="1600" b="1"/>
            </a:lvl5pPr>
            <a:lvl6pPr marL="2286076" indent="0">
              <a:buNone/>
              <a:defRPr sz="1600" b="1"/>
            </a:lvl6pPr>
            <a:lvl7pPr marL="2743291" indent="0">
              <a:buNone/>
              <a:defRPr sz="1600" b="1"/>
            </a:lvl7pPr>
            <a:lvl8pPr marL="3200506" indent="0">
              <a:buNone/>
              <a:defRPr sz="1600" b="1"/>
            </a:lvl8pPr>
            <a:lvl9pPr marL="3657721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61" y="2174875"/>
            <a:ext cx="5387630" cy="3951288"/>
          </a:xfrm>
        </p:spPr>
        <p:txBody>
          <a:bodyPr/>
          <a:lstStyle>
            <a:lvl1pPr>
              <a:defRPr sz="2399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95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291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475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53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8" y="273061"/>
            <a:ext cx="6813893" cy="5853113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53" y="1435103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15" indent="0">
              <a:buNone/>
              <a:defRPr sz="1200"/>
            </a:lvl2pPr>
            <a:lvl3pPr marL="914430" indent="0">
              <a:buNone/>
              <a:defRPr sz="1000"/>
            </a:lvl3pPr>
            <a:lvl4pPr marL="1371645" indent="0">
              <a:buNone/>
              <a:defRPr sz="900"/>
            </a:lvl4pPr>
            <a:lvl5pPr marL="1828861" indent="0">
              <a:buNone/>
              <a:defRPr sz="900"/>
            </a:lvl5pPr>
            <a:lvl6pPr marL="2286076" indent="0">
              <a:buNone/>
              <a:defRPr sz="900"/>
            </a:lvl6pPr>
            <a:lvl7pPr marL="2743291" indent="0">
              <a:buNone/>
              <a:defRPr sz="900"/>
            </a:lvl7pPr>
            <a:lvl8pPr marL="3200506" indent="0">
              <a:buNone/>
              <a:defRPr sz="900"/>
            </a:lvl8pPr>
            <a:lvl9pPr marL="365772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590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1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201"/>
            </a:lvl1pPr>
            <a:lvl2pPr marL="457215" indent="0">
              <a:buNone/>
              <a:defRPr sz="2801"/>
            </a:lvl2pPr>
            <a:lvl3pPr marL="914430" indent="0">
              <a:buNone/>
              <a:defRPr sz="2399"/>
            </a:lvl3pPr>
            <a:lvl4pPr marL="1371645" indent="0">
              <a:buNone/>
              <a:defRPr sz="2000"/>
            </a:lvl4pPr>
            <a:lvl5pPr marL="1828861" indent="0">
              <a:buNone/>
              <a:defRPr sz="2000"/>
            </a:lvl5pPr>
            <a:lvl6pPr marL="2286076" indent="0">
              <a:buNone/>
              <a:defRPr sz="2000"/>
            </a:lvl6pPr>
            <a:lvl7pPr marL="2743291" indent="0">
              <a:buNone/>
              <a:defRPr sz="2000"/>
            </a:lvl7pPr>
            <a:lvl8pPr marL="3200506" indent="0">
              <a:buNone/>
              <a:defRPr sz="2000"/>
            </a:lvl8pPr>
            <a:lvl9pPr marL="3657721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9"/>
            <a:ext cx="73132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15" indent="0">
              <a:buNone/>
              <a:defRPr sz="1200"/>
            </a:lvl2pPr>
            <a:lvl3pPr marL="914430" indent="0">
              <a:buNone/>
              <a:defRPr sz="1000"/>
            </a:lvl3pPr>
            <a:lvl4pPr marL="1371645" indent="0">
              <a:buNone/>
              <a:defRPr sz="900"/>
            </a:lvl4pPr>
            <a:lvl5pPr marL="1828861" indent="0">
              <a:buNone/>
              <a:defRPr sz="900"/>
            </a:lvl5pPr>
            <a:lvl6pPr marL="2286076" indent="0">
              <a:buNone/>
              <a:defRPr sz="900"/>
            </a:lvl6pPr>
            <a:lvl7pPr marL="2743291" indent="0">
              <a:buNone/>
              <a:defRPr sz="900"/>
            </a:lvl7pPr>
            <a:lvl8pPr marL="3200506" indent="0">
              <a:buNone/>
              <a:defRPr sz="900"/>
            </a:lvl8pPr>
            <a:lvl9pPr marL="3657721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8938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8"/>
            <a:ext cx="109699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6"/>
            <a:ext cx="1096994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66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4FB966-46BA-46AB-B337-6AC062CD8688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66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366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FFA6D8-A713-4E5E-9E07-C3AC10CF2D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477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3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12" indent="-342912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1" kern="1200">
          <a:solidFill>
            <a:schemeClr val="tx1"/>
          </a:solidFill>
          <a:latin typeface="+mn-lt"/>
          <a:ea typeface="+mn-ea"/>
          <a:cs typeface="+mn-cs"/>
        </a:defRPr>
      </a:lvl1pPr>
      <a:lvl2pPr marL="742974" indent="-285759" algn="l" defTabSz="91443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40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600253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68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83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98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15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28" indent="-228608" algn="l" defTabSz="9144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30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45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76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9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06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21" algn="l" defTabSz="9144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1" y="1600201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6E598C6-85FB-49CF-9598-4141538CDB89}" type="datetimeFigureOut">
              <a:rPr lang="en-US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0/2019</a:t>
            </a:fld>
            <a:endParaRPr lang="en-US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ED0509E-B6D7-4C27-B650-3B8CA4CC89B5}" type="slidenum">
              <a:rPr lang="en-US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3840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441" y="274638"/>
            <a:ext cx="1096994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441" y="1600206"/>
            <a:ext cx="10969943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69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6E598C6-85FB-49CF-9598-4141538CDB89}" type="datetimeFigureOut">
              <a:rPr lang="en-US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5/20/2019</a:t>
            </a:fld>
            <a:endParaRPr lang="en-US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69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6" y="6356369"/>
            <a:ext cx="2844059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ED0509E-B6D7-4C27-B650-3B8CA4CC89B5}" type="slidenum">
              <a:rPr lang="en-US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1639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10" Type="http://schemas.openxmlformats.org/officeDocument/2006/relationships/tags" Target="../tags/tag50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childrenandaids.org/sites/default/files/poc-toolkit/Stepwise%20Process%20for%20Improving%20the%20Quality%20of%20HIV-Related%20Point%20of%20Care%20Testing%20(SPI-POCT%20Checklist)%20CDC%20FINAL%2010-10-2014.pdf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10" Type="http://schemas.openxmlformats.org/officeDocument/2006/relationships/tags" Target="../tags/tag86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" Type="http://schemas.openxmlformats.org/officeDocument/2006/relationships/tags" Target="../tags/tag96.xml"/><Relationship Id="rId16" Type="http://schemas.openxmlformats.org/officeDocument/2006/relationships/tags" Target="../tags/tag110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5" Type="http://schemas.openxmlformats.org/officeDocument/2006/relationships/tags" Target="../tags/tag109.xml"/><Relationship Id="rId10" Type="http://schemas.openxmlformats.org/officeDocument/2006/relationships/tags" Target="../tags/tag104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tags" Target="../tags/tag10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10" Type="http://schemas.openxmlformats.org/officeDocument/2006/relationships/tags" Target="../tags/tag32.xml"/><Relationship Id="rId19" Type="http://schemas.openxmlformats.org/officeDocument/2006/relationships/slideLayout" Target="../slideLayouts/slideLayout24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3" Type="http://schemas.openxmlformats.org/officeDocument/2006/relationships/image" Target="../media/image5.wmf"/><Relationship Id="rId7" Type="http://schemas.openxmlformats.org/officeDocument/2006/relationships/image" Target="../media/image9.wmf"/><Relationship Id="rId12" Type="http://schemas.openxmlformats.org/officeDocument/2006/relationships/image" Target="../media/image14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8.wmf"/><Relationship Id="rId11" Type="http://schemas.openxmlformats.org/officeDocument/2006/relationships/image" Target="../media/image13.wmf"/><Relationship Id="rId5" Type="http://schemas.openxmlformats.org/officeDocument/2006/relationships/image" Target="../media/image7.wmf"/><Relationship Id="rId10" Type="http://schemas.openxmlformats.org/officeDocument/2006/relationships/image" Target="../media/image12.wmf"/><Relationship Id="rId4" Type="http://schemas.openxmlformats.org/officeDocument/2006/relationships/image" Target="../media/image6.wmf"/><Relationship Id="rId9" Type="http://schemas.openxmlformats.org/officeDocument/2006/relationships/image" Target="../media/image11.w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3" y="1593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146097" y="6356363"/>
            <a:ext cx="2742486" cy="365125"/>
          </a:xfrm>
        </p:spPr>
        <p:txBody>
          <a:bodyPr/>
          <a:lstStyle/>
          <a:p>
            <a:pPr defTabSz="914430">
              <a:defRPr/>
            </a:pPr>
            <a:fld id="{9055F44C-6543-40DE-AE7E-D49E41E959D7}" type="slidenum">
              <a:rPr lang="en-US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914430">
                <a:defRPr/>
              </a:pPr>
              <a:t>1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" y="3"/>
            <a:ext cx="12188825" cy="4958496"/>
          </a:xfrm>
          <a:prstGeom prst="rect">
            <a:avLst/>
          </a:prstGeom>
          <a:solidFill>
            <a:srgbClr val="215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89" name="TextBox 4"/>
          <p:cNvSpPr txBox="1"/>
          <p:nvPr/>
        </p:nvSpPr>
        <p:spPr>
          <a:xfrm>
            <a:off x="379412" y="2270007"/>
            <a:ext cx="1121086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dirty="0">
                <a:solidFill>
                  <a:schemeClr val="bg1"/>
                </a:solidFill>
              </a:rPr>
              <a:t>Quality Assurance for POC Testing</a:t>
            </a:r>
          </a:p>
          <a:p>
            <a:r>
              <a:rPr lang="en-US" sz="2800" i="1" dirty="0">
                <a:solidFill>
                  <a:schemeClr val="bg1"/>
                </a:solidFill>
              </a:rPr>
              <a:t>Supplementary Content 3: QA, Mentorship and Operator Certification for POC EID Testing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08615" y="5584122"/>
            <a:ext cx="67802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/>
              <a:t>POC EID Training Toolkit</a:t>
            </a:r>
          </a:p>
          <a:p>
            <a:pPr algn="r"/>
            <a:r>
              <a:rPr lang="en-US" i="1" dirty="0"/>
              <a:t>v. </a:t>
            </a:r>
            <a:r>
              <a:rPr lang="en-US" i="1"/>
              <a:t>May </a:t>
            </a:r>
            <a:r>
              <a:rPr lang="en-US" i="1" dirty="0"/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4796904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87821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Compliance with routine EQA optimizes the quality of testing and builds trust in the result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from POC testing devices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0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83705" y="1307460"/>
            <a:ext cx="10381537" cy="461665"/>
          </a:xfrm>
          <a:prstGeom prst="rect">
            <a:avLst/>
          </a:prstGeom>
          <a:solidFill>
            <a:schemeClr val="accent5"/>
          </a:solidFill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+mn-lt"/>
              </a:rPr>
              <a:t>Proposed interventions </a:t>
            </a:r>
            <a:r>
              <a:rPr lang="en-US" sz="2400" dirty="0">
                <a:solidFill>
                  <a:schemeClr val="bg1"/>
                </a:solidFill>
                <a:latin typeface="+mn-lt"/>
              </a:rPr>
              <a:t>to ensure successful routine EQA </a:t>
            </a:r>
          </a:p>
        </p:txBody>
      </p:sp>
      <p:sp>
        <p:nvSpPr>
          <p:cNvPr id="7" name="Rectangle 6"/>
          <p:cNvSpPr/>
          <p:nvPr/>
        </p:nvSpPr>
        <p:spPr>
          <a:xfrm>
            <a:off x="283705" y="1857435"/>
            <a:ext cx="11621415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Central level supervisors should coordinate the External Quality Assurance exercise  (e.g. National Public Health Lab)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Enroll POC EID sites in EQA scheme available for the country (e.g. QASI, CDC, national QAP)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All EQA panels should be distributed to POC sites as per EQA panel distribution SOP following the handling and transport standard requirements 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Central level supervisors should specify with the testing lab preferred timelines for the results 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Central level supervisors should follow up on the results from the testing sites 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Central level supervisors should communicate performance to respective POC EID sites and conduct corrective actions when necessary. </a:t>
            </a:r>
          </a:p>
          <a:p>
            <a:pPr marL="457200" lvl="0" indent="-457200">
              <a:buFont typeface="+mj-lt"/>
              <a:buAutoNum type="arabicPeriod"/>
            </a:pPr>
            <a:endParaRPr lang="en-US" sz="1900" dirty="0"/>
          </a:p>
          <a:p>
            <a:pPr marL="457200" lvl="0" indent="-457200">
              <a:buFont typeface="+mj-lt"/>
              <a:buAutoNum type="arabicPeriod"/>
            </a:pPr>
            <a:r>
              <a:rPr lang="en-US" sz="1900" dirty="0"/>
              <a:t>To be repeated every 6 months (2 cycles per year as defined by EQA scheme provider)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8423989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87821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If consistently done, routine EQA will provide a quality check for all POC EID testing sites 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1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20341" y="1313068"/>
            <a:ext cx="1098047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What needs to be in place:</a:t>
            </a:r>
          </a:p>
          <a:p>
            <a:endParaRPr lang="en-US" sz="24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Communication in advance to prepare the sit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Supervisor/mentor review in advance to </a:t>
            </a:r>
            <a:r>
              <a:rPr lang="en-US" sz="2400" dirty="0"/>
              <a:t>assess </a:t>
            </a:r>
            <a:r>
              <a:rPr lang="en-US" sz="2400" dirty="0">
                <a:latin typeface="+mn-lt"/>
              </a:rPr>
              <a:t>POC site performance based on data transmitted through connectivity to the POC dashboard to identify and plan for any corrective actions </a:t>
            </a:r>
            <a:r>
              <a:rPr lang="en-US" sz="2400" i="1" dirty="0">
                <a:latin typeface="+mn-lt"/>
              </a:rPr>
              <a:t>(if connectivity is established)</a:t>
            </a:r>
          </a:p>
          <a:p>
            <a:pPr lvl="0"/>
            <a:endParaRPr lang="en-US" sz="24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Supervisor to travel to all the POC EID sites, bringing EQA-PT panels from National Reference Lab; mentorship and supervision can be done alongside EQA-PT panel delivery. </a:t>
            </a:r>
          </a:p>
          <a:p>
            <a:pPr lvl="0"/>
            <a:endParaRPr lang="en-US" sz="2400" dirty="0">
              <a:latin typeface="+mn-lt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+mn-lt"/>
              </a:rPr>
              <a:t>Logistics for supervisor field visit 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209711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87821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Managing discordant results at POC EID site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2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771625" y="1828800"/>
            <a:ext cx="10533654" cy="4114800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rgbClr val="FF0000"/>
                </a:solidFill>
              </a:rPr>
              <a:t>[Before the start of the training, insert here the </a:t>
            </a:r>
            <a:r>
              <a:rPr lang="en-US" b="1" i="1" dirty="0">
                <a:solidFill>
                  <a:srgbClr val="FF0000"/>
                </a:solidFill>
              </a:rPr>
              <a:t>national policy for managing discordant EID results</a:t>
            </a:r>
            <a:r>
              <a:rPr lang="en-US" i="1" dirty="0">
                <a:solidFill>
                  <a:srgbClr val="FF0000"/>
                </a:solidFill>
              </a:rPr>
              <a:t>]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2214674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3200400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"/>
            <a:ext cx="12188825" cy="1219199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solidFill>
                    <a:prstClr val="black"/>
                  </a:solidFill>
                  <a:ea typeface="ＭＳ Ｐゴシック" pitchFamily="34" charset="-128"/>
                  <a:cs typeface="Calibri"/>
                </a:rPr>
                <a:t>Quality Assurance (QA) framework and QA for POC EID Testing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05948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The Stepwise Process for Improving the Quality of POC Testing (SPI-POCT) checklist is a 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simple and easy to use tool assess POCT testing quality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4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5CB2EBD-F659-FA4A-A49C-CB88B88F5F16}"/>
              </a:ext>
            </a:extLst>
          </p:cNvPr>
          <p:cNvSpPr txBox="1"/>
          <p:nvPr/>
        </p:nvSpPr>
        <p:spPr>
          <a:xfrm>
            <a:off x="11714815" y="3378200"/>
            <a:ext cx="0" cy="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400" b="1" dirty="0">
              <a:solidFill>
                <a:srgbClr val="000000"/>
              </a:solidFill>
              <a:ea typeface="ＭＳ 明朝"/>
              <a:cs typeface="Times New Roman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77189" y="6201201"/>
            <a:ext cx="10533654" cy="53340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  <a:hlinkClick r:id="rId3"/>
              </a:rPr>
              <a:t>Link to The SPI-POCT Checklist on the POC EID Toolkit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20341" y="1313068"/>
            <a:ext cx="10980470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+mn-lt"/>
              </a:rPr>
              <a:t>The SPI-POCT checklist assesses 9 aspects of POC testing to generate a facility score: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Integration of POCT service for patient care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Personnel training, competency and certification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Physical facilities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Safety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Pre-testing phase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Testing phase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Post-testing phase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Supplies, reagents and equipment</a:t>
            </a:r>
          </a:p>
          <a:p>
            <a:pPr marL="914400" lvl="1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000" dirty="0"/>
              <a:t>Monitoring quality</a:t>
            </a:r>
          </a:p>
        </p:txBody>
      </p:sp>
    </p:spTree>
    <p:extLst>
      <p:ext uri="{BB962C8B-B14F-4D97-AF65-F5344CB8AC3E}">
        <p14:creationId xmlns:p14="http://schemas.microsoft.com/office/powerpoint/2010/main" val="27961370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4014500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"/>
            <a:ext cx="12188825" cy="1219199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solidFill>
                    <a:prstClr val="black"/>
                  </a:solidFill>
                  <a:ea typeface="ＭＳ Ｐゴシック" pitchFamily="34" charset="-128"/>
                  <a:cs typeface="Calibri"/>
                </a:rPr>
                <a:t>Quality Assurance (QA) framework and QA for POC EID Testing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55680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173079254"/>
              </p:ext>
            </p:extLst>
          </p:nvPr>
        </p:nvGraphicFramePr>
        <p:xfrm>
          <a:off x="248292" y="1219200"/>
          <a:ext cx="11443951" cy="523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The goal of periodic site supervision and mentorship is to identify issues early and to 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provide corrective and preventive action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673329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Mentorship and supportive supervision provide opportunities for observation, 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assessment, reflection and joint problem solving 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7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450734" y="1324304"/>
            <a:ext cx="11238980" cy="2790496"/>
          </a:xfrm>
          <a:prstGeom prst="rect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000" b="1" dirty="0"/>
              <a:t>Mentorship</a:t>
            </a:r>
            <a:r>
              <a:rPr lang="en-US" sz="2000" dirty="0"/>
              <a:t> by experienced individuals to less experienced individuals is an essential element of medical and nursing education; clinicians learn best by doing, while being supported by a more experienced colleague.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Mentoring is a critical bridge for the training gap that exists between traditional didactic training and practice in the clinical setting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US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dirty="0"/>
              <a:t>Mentoring  occurs at site level, thus ensuring that POC operators  learn how to adopt SOPs and systems to their own patient population in the clinic sett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marR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000" b="1" dirty="0">
              <a:solidFill>
                <a:srgbClr val="000000"/>
              </a:solidFill>
              <a:ea typeface="ＭＳ 明朝"/>
              <a:cs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0734" y="4297740"/>
            <a:ext cx="11238980" cy="15696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spAutoFit/>
          </a:bodyPr>
          <a:lstStyle/>
          <a:p>
            <a:endParaRPr lang="en-US" b="1" dirty="0">
              <a:latin typeface="+mn-lt"/>
            </a:endParaRPr>
          </a:p>
          <a:p>
            <a:r>
              <a:rPr lang="en-US" sz="2000" b="1" dirty="0">
                <a:latin typeface="+mn-lt"/>
              </a:rPr>
              <a:t>Supportive supervision </a:t>
            </a:r>
            <a:r>
              <a:rPr lang="en-US" sz="2000" dirty="0">
                <a:latin typeface="+mn-lt"/>
              </a:rPr>
              <a:t>improves the quality of service delivery through observation, discussion and direct problem-solving, mentoring and learning from the topics that are discussed then planning the way forward with POC operators and clinic staff. </a:t>
            </a:r>
          </a:p>
          <a:p>
            <a:endParaRPr lang="en-US" dirty="0">
              <a:latin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4411" y="6059269"/>
            <a:ext cx="9405301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latin typeface="+mn-lt"/>
              </a:rPr>
              <a:t>Mentoring overlaps with supportive supervision</a:t>
            </a:r>
            <a:r>
              <a:rPr lang="en-US" dirty="0">
                <a:latin typeface="+mn-lt"/>
              </a:rPr>
              <a:t> whereby the testing and clinic flow is assessed and concerns are addressed through the use of collaborative problem solving</a:t>
            </a:r>
          </a:p>
        </p:txBody>
      </p:sp>
      <p:sp>
        <p:nvSpPr>
          <p:cNvPr id="5" name="Right Arrow 4"/>
          <p:cNvSpPr/>
          <p:nvPr/>
        </p:nvSpPr>
        <p:spPr>
          <a:xfrm>
            <a:off x="150812" y="6059269"/>
            <a:ext cx="2057400" cy="64633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946137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711D929-C8B6-2543-A278-C084C28AF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996211"/>
            <a:ext cx="12188825" cy="3996000"/>
          </a:xfrm>
          <a:prstGeom prst="rect">
            <a:avLst/>
          </a:prstGeom>
        </p:spPr>
      </p:pic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The POC EID  Mentorship/Supervision Checklist can be used to guide site visits and 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identify areas for intervention and improvement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18</a:t>
            </a:fld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135432" y="2136412"/>
            <a:ext cx="11443952" cy="2588489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35432" y="1261242"/>
            <a:ext cx="12053392" cy="7349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000000"/>
                </a:solidFill>
                <a:ea typeface="ＭＳ 明朝"/>
                <a:cs typeface="Times New Roman"/>
              </a:rPr>
              <a:t>Suggested mentorship/supervision visit schedule:  Monthly for the 1</a:t>
            </a:r>
            <a:r>
              <a:rPr lang="en-US" baseline="30000" dirty="0">
                <a:solidFill>
                  <a:srgbClr val="000000"/>
                </a:solidFill>
                <a:ea typeface="ＭＳ 明朝"/>
                <a:cs typeface="Times New Roman"/>
              </a:rPr>
              <a:t>st</a:t>
            </a:r>
            <a:r>
              <a:rPr lang="en-US" dirty="0">
                <a:solidFill>
                  <a:srgbClr val="000000"/>
                </a:solidFill>
                <a:ea typeface="ＭＳ 明朝"/>
                <a:cs typeface="Times New Roman"/>
              </a:rPr>
              <a:t>  3 months, and then 6 monthly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i="1" dirty="0">
                <a:solidFill>
                  <a:srgbClr val="000000"/>
                </a:solidFill>
                <a:ea typeface="ＭＳ 明朝"/>
                <a:cs typeface="Times New Roman"/>
              </a:rPr>
              <a:t>Lower performing sites can be visited more frequently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01157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4776500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"/>
            <a:ext cx="12188825" cy="1219199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solidFill>
                    <a:prstClr val="black"/>
                  </a:solidFill>
                  <a:ea typeface="ＭＳ Ｐゴシック" pitchFamily="34" charset="-128"/>
                  <a:cs typeface="Calibri"/>
                </a:rPr>
                <a:t>Quality Assurance (QA) framework and QA for POC EID Testing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9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1542421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"/>
            <a:ext cx="12188825" cy="1219199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cs typeface="Calibri"/>
                </a:rPr>
                <a:t>Quality Assurance (QA) framework and QA for EID POC Testing 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95268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20</a:t>
            </a:fld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11138086" y="141889"/>
            <a:ext cx="819593" cy="61485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/>
              <a:t>5</a:t>
            </a:r>
          </a:p>
        </p:txBody>
      </p:sp>
      <p:pic>
        <p:nvPicPr>
          <p:cNvPr id="7" name="Picture 6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0" y="1495030"/>
            <a:ext cx="11621435" cy="201978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196107" y="5192111"/>
            <a:ext cx="9152108" cy="1284889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numCol="2" rtlCol="0">
            <a:noAutofit/>
          </a:bodyPr>
          <a:lstStyle/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Error message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Error rates by facility/operator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Inventory tracking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Test results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EQA results 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Testing volumes</a:t>
            </a:r>
          </a:p>
          <a:p>
            <a:pPr marL="285750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Device breakdown tracking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82336" y="3356254"/>
            <a:ext cx="2280109" cy="805838"/>
          </a:xfrm>
          <a:prstGeom prst="rect">
            <a:avLst/>
          </a:prstGeom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a typeface="ＭＳ 明朝"/>
                <a:cs typeface="Times New Roman"/>
              </a:rPr>
              <a:t>Operator initiates data transmiss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33501" y="3372918"/>
            <a:ext cx="2956141" cy="789174"/>
          </a:xfrm>
          <a:prstGeom prst="rect">
            <a:avLst/>
          </a:prstGeom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a typeface="ＭＳ 明朝"/>
                <a:cs typeface="Times New Roman"/>
              </a:rPr>
              <a:t>Data transmitted through cellular network or internet connec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973538" y="3356255"/>
            <a:ext cx="2879085" cy="805838"/>
          </a:xfrm>
          <a:prstGeom prst="rect">
            <a:avLst/>
          </a:prstGeom>
          <a:ln w="635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srgbClr val="000000"/>
                </a:solidFill>
                <a:ea typeface="ＭＳ 明朝"/>
                <a:cs typeface="Times New Roman"/>
              </a:rPr>
              <a:t>Data is aggregated on MOH server, used for corrective action and program managem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91739" y="4718074"/>
            <a:ext cx="7943729" cy="528144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numCol="1" rtlCol="0">
            <a:noAutofit/>
          </a:bodyPr>
          <a:lstStyle/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000000"/>
                </a:solidFill>
                <a:ea typeface="ＭＳ 明朝"/>
                <a:cs typeface="Times New Roman"/>
              </a:rPr>
              <a:t>Examples of data captured by POC devices:</a:t>
            </a: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0" y="1"/>
            <a:ext cx="12188825" cy="1069848"/>
          </a:xfrm>
          <a:prstGeom prst="rect">
            <a:avLst/>
          </a:prstGeo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n-US" dirty="0"/>
              <a:t>POC devices can be monitored remotely through wireless connectivity that transmits </a:t>
            </a:r>
            <a:br>
              <a:rPr lang="en-US" dirty="0"/>
            </a:br>
            <a:r>
              <a:rPr lang="en-US" dirty="0"/>
              <a:t>testing data to a central server  </a:t>
            </a:r>
          </a:p>
        </p:txBody>
      </p:sp>
      <p:sp>
        <p:nvSpPr>
          <p:cNvPr id="9" name="Rectangle 8"/>
          <p:cNvSpPr/>
          <p:nvPr/>
        </p:nvSpPr>
        <p:spPr>
          <a:xfrm>
            <a:off x="1323961" y="4556238"/>
            <a:ext cx="9814125" cy="20731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7778828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12575" y="1037562"/>
            <a:ext cx="4512758" cy="401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71062" y="1057275"/>
            <a:ext cx="3656648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228964" y="3733800"/>
            <a:ext cx="3656648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3" name="Picture 5"/>
          <p:cNvPicPr>
            <a:picLocks noChangeAspect="1" noChangeArrowheads="1"/>
          </p:cNvPicPr>
          <p:nvPr/>
        </p:nvPicPr>
        <p:blipFill rotWithShape="1">
          <a:blip r:embed="rId6" cstate="print"/>
          <a:srcRect b="59417"/>
          <a:stretch/>
        </p:blipFill>
        <p:spPr bwMode="auto">
          <a:xfrm>
            <a:off x="1312576" y="5436060"/>
            <a:ext cx="3912334" cy="1111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0" y="0"/>
            <a:ext cx="12188825" cy="1069848"/>
          </a:xfrm>
          <a:prstGeom prst="rect">
            <a:avLst/>
          </a:prstGeo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n-ZA" dirty="0"/>
              <a:t>A program manager can monitor many aspects of POC testing using wirelessly</a:t>
            </a:r>
            <a:br>
              <a:rPr lang="en-ZA" dirty="0"/>
            </a:br>
            <a:r>
              <a:rPr lang="en-ZA" dirty="0"/>
              <a:t>transmitted testing dat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794921" y="1277828"/>
            <a:ext cx="1576141" cy="55594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POC Fleet 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Overview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02533" y="4503509"/>
            <a:ext cx="1625177" cy="34191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Error Typ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47481" y="4674467"/>
            <a:ext cx="1502587" cy="4099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Error Rat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287957" y="5966666"/>
            <a:ext cx="1873856" cy="56542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Stock Manage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0" y="3606691"/>
            <a:ext cx="1312575" cy="73128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Facility-specific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825334" y="2449069"/>
            <a:ext cx="1450048" cy="54689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Testing Volum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808435" y="3317480"/>
            <a:ext cx="1450048" cy="54689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0000"/>
                </a:solidFill>
                <a:ea typeface="ＭＳ 明朝"/>
                <a:cs typeface="Times New Roman"/>
              </a:rPr>
              <a:t>Average Resul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160897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5538500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"/>
            <a:ext cx="12188825" cy="1219199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solidFill>
                    <a:prstClr val="black"/>
                  </a:solidFill>
                  <a:ea typeface="ＭＳ Ｐゴシック" pitchFamily="34" charset="-128"/>
                  <a:cs typeface="Calibri"/>
                </a:rPr>
                <a:t>Quality Assurance (QA) framework and QA for POC EID Testing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0521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gray">
          <a:xfrm>
            <a:off x="310" y="-26504"/>
            <a:ext cx="12188825" cy="106679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57D11-2E5B-4896-BF3A-7DA436B015FD}" type="slidenum">
              <a:rPr lang="en-US" smtClean="0"/>
              <a:t>23</a:t>
            </a:fld>
            <a:endParaRPr lang="en-US" dirty="0"/>
          </a:p>
        </p:txBody>
      </p:sp>
      <p:sp>
        <p:nvSpPr>
          <p:cNvPr id="4" name="Slide Number Placeholder 2"/>
          <p:cNvSpPr txBox="1">
            <a:spLocks/>
          </p:cNvSpPr>
          <p:nvPr/>
        </p:nvSpPr>
        <p:spPr>
          <a:xfrm>
            <a:off x="8735330" y="6356364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EE9E37A-4EAF-44F7-BC9F-FB713F1B08BE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48858" cy="990601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 defTabSz="457200" eaLnBrk="0" fontAlgn="base" hangingPunct="0">
              <a:spcAft>
                <a:spcPct val="0"/>
              </a:spcAft>
            </a:pPr>
            <a:r>
              <a:rPr lang="en-US" sz="2400" dirty="0">
                <a:solidFill>
                  <a:schemeClr val="bg1"/>
                </a:solidFill>
                <a:latin typeface="Calibri" charset="0"/>
                <a:ea typeface="ＭＳ Ｐゴシック" charset="0"/>
                <a:cs typeface="ＭＳ Ｐゴシック" charset="0"/>
              </a:rPr>
              <a:t>Questions?</a:t>
            </a:r>
          </a:p>
        </p:txBody>
      </p:sp>
      <p:pic>
        <p:nvPicPr>
          <p:cNvPr id="6" name="Picture 28" descr="Classroom Shadow">
            <a:extLst>
              <a:ext uri="{FF2B5EF4-FFF2-40B4-BE49-F238E27FC236}">
                <a16:creationId xmlns:a16="http://schemas.microsoft.com/office/drawing/2014/main" id="{2CF11BAC-EB48-B14C-B548-E8F2AA7138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98913" y="1752600"/>
            <a:ext cx="3889375" cy="2109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99CE42A-FC10-3742-97C3-ACA34F9BCD31}"/>
              </a:ext>
            </a:extLst>
          </p:cNvPr>
          <p:cNvSpPr txBox="1"/>
          <p:nvPr/>
        </p:nvSpPr>
        <p:spPr>
          <a:xfrm>
            <a:off x="4723122" y="6125595"/>
            <a:ext cx="2743200" cy="461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99" b="1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68173750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gray">
          <a:xfrm>
            <a:off x="-1" y="0"/>
            <a:ext cx="12188825" cy="106679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>
              <a:spcBef>
                <a:spcPct val="0"/>
              </a:spcBef>
              <a:buNone/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algn="ctr"/>
            <a:r>
              <a:rPr lang="en-US" dirty="0"/>
              <a:t>Acknowledgments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903412" y="5146670"/>
            <a:ext cx="8458200" cy="13234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1917564" y="3845004"/>
            <a:ext cx="8353697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2200" dirty="0">
              <a:solidFill>
                <a:prstClr val="black"/>
              </a:solidFill>
            </a:endParaRPr>
          </a:p>
          <a:p>
            <a:pPr algn="ctr"/>
            <a:r>
              <a:rPr lang="en-US" sz="2200" dirty="0" err="1">
                <a:solidFill>
                  <a:schemeClr val="accent5">
                    <a:lumMod val="50000"/>
                  </a:schemeClr>
                </a:solidFill>
              </a:rPr>
              <a:t>Unitaid</a:t>
            </a:r>
            <a:r>
              <a:rPr lang="en-US" sz="2200" dirty="0">
                <a:solidFill>
                  <a:schemeClr val="accent5">
                    <a:lumMod val="50000"/>
                  </a:schemeClr>
                </a:solidFill>
              </a:rPr>
              <a:t> accelerates access to innovation so that critical health products </a:t>
            </a:r>
          </a:p>
          <a:p>
            <a:pPr algn="ctr"/>
            <a:r>
              <a:rPr lang="en-US" sz="2200" dirty="0">
                <a:solidFill>
                  <a:schemeClr val="accent5">
                    <a:lumMod val="50000"/>
                  </a:schemeClr>
                </a:solidFill>
              </a:rPr>
              <a:t>can reach the people who need them.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213" y="2268534"/>
            <a:ext cx="4097867" cy="1676400"/>
          </a:xfrm>
          <a:prstGeom prst="rect">
            <a:avLst/>
          </a:prstGeom>
        </p:spPr>
      </p:pic>
      <p:pic>
        <p:nvPicPr>
          <p:cNvPr id="5" name="Picture 4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FA78021D-E16C-463F-8DFD-18842AF8C3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016" y="5754038"/>
            <a:ext cx="1843276" cy="646763"/>
          </a:xfrm>
          <a:prstGeom prst="rect">
            <a:avLst/>
          </a:prstGeom>
        </p:spPr>
      </p:pic>
      <p:pic>
        <p:nvPicPr>
          <p:cNvPr id="7" name="Picture 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BCA88925-2B8A-4BF6-807B-1FF9EFA017F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987" y="5508274"/>
            <a:ext cx="1811831" cy="968726"/>
          </a:xfrm>
          <a:prstGeom prst="rect">
            <a:avLst/>
          </a:prstGeom>
        </p:spPr>
      </p:pic>
      <p:pic>
        <p:nvPicPr>
          <p:cNvPr id="15" name="Picture 1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E362994-5E43-4601-92CA-43175C984D0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012" y="5443868"/>
            <a:ext cx="1700366" cy="103313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1E9B1F-0047-428E-B7E9-65A7108F8DE4}"/>
              </a:ext>
            </a:extLst>
          </p:cNvPr>
          <p:cNvSpPr txBox="1"/>
          <p:nvPr/>
        </p:nvSpPr>
        <p:spPr>
          <a:xfrm>
            <a:off x="1751012" y="1447801"/>
            <a:ext cx="82296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>
                <a:solidFill>
                  <a:schemeClr val="accent5">
                    <a:lumMod val="50000"/>
                  </a:schemeClr>
                </a:solidFill>
              </a:rPr>
              <a:t>The development of the POC EID Training Package was made possible </a:t>
            </a:r>
          </a:p>
          <a:p>
            <a:pPr algn="ctr"/>
            <a:r>
              <a:rPr lang="en-US" sz="2200" dirty="0">
                <a:solidFill>
                  <a:schemeClr val="accent5">
                    <a:lumMod val="50000"/>
                  </a:schemeClr>
                </a:solidFill>
              </a:rPr>
              <a:t>thanks to </a:t>
            </a:r>
            <a:r>
              <a:rPr lang="en-US" sz="2200" dirty="0" err="1">
                <a:solidFill>
                  <a:schemeClr val="accent5">
                    <a:lumMod val="50000"/>
                  </a:schemeClr>
                </a:solidFill>
              </a:rPr>
              <a:t>Unitaid’s</a:t>
            </a:r>
            <a:r>
              <a:rPr lang="en-US" sz="2200" dirty="0">
                <a:solidFill>
                  <a:schemeClr val="accent5">
                    <a:lumMod val="50000"/>
                  </a:schemeClr>
                </a:solidFill>
              </a:rPr>
              <a:t> support.</a:t>
            </a:r>
          </a:p>
        </p:txBody>
      </p:sp>
    </p:spTree>
    <p:extLst>
      <p:ext uri="{BB962C8B-B14F-4D97-AF65-F5344CB8AC3E}">
        <p14:creationId xmlns:p14="http://schemas.microsoft.com/office/powerpoint/2010/main" val="21371501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gray">
          <a:xfrm>
            <a:off x="310" y="-26504"/>
            <a:ext cx="12188825" cy="106679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357D11-2E5B-4896-BF3A-7DA436B015FD}" type="slidenum">
              <a:rPr lang="en-US" smtClean="0"/>
              <a:t>3</a:t>
            </a:fld>
            <a:endParaRPr lang="en-US" dirty="0"/>
          </a:p>
        </p:txBody>
      </p:sp>
      <p:sp>
        <p:nvSpPr>
          <p:cNvPr id="4" name="Slide Number Placeholder 2"/>
          <p:cNvSpPr txBox="1">
            <a:spLocks/>
          </p:cNvSpPr>
          <p:nvPr/>
        </p:nvSpPr>
        <p:spPr>
          <a:xfrm>
            <a:off x="8735330" y="6356364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EE9E37A-4EAF-44F7-BC9F-FB713F1B08BE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48858" cy="990601"/>
          </a:xfrm>
        </p:spPr>
        <p:txBody>
          <a:bodyPr>
            <a:no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cs typeface="Arial" panose="020B0604020202020204" pitchFamily="34" charset="0"/>
              </a:rPr>
              <a:t>Learning Objective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737C211-6CC8-954A-99B4-03BDF036E46D}"/>
              </a:ext>
            </a:extLst>
          </p:cNvPr>
          <p:cNvSpPr/>
          <p:nvPr/>
        </p:nvSpPr>
        <p:spPr>
          <a:xfrm>
            <a:off x="11217866" y="167377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99" b="1" dirty="0"/>
              <a:t>1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760412" y="1524000"/>
            <a:ext cx="10457454" cy="460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en-US" sz="2000" dirty="0">
                <a:latin typeface="Calibri" pitchFamily="34" charset="0"/>
              </a:rPr>
              <a:t>At the end of this topic participants will be able to:</a:t>
            </a: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en-US" sz="2800" dirty="0">
              <a:latin typeface="Calibri" pitchFamily="34" charset="0"/>
            </a:endParaRPr>
          </a:p>
          <a:p>
            <a:pPr marL="852678" lvl="1" algn="just" fontAlgn="auto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itchFamily="34" charset="0"/>
              </a:rPr>
              <a:t>Understand the country’s QA framework </a:t>
            </a:r>
          </a:p>
          <a:p>
            <a:pPr marL="852678" lvl="1" algn="just" fontAlgn="auto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itchFamily="34" charset="0"/>
              </a:rPr>
              <a:t>Explain QA approaches for POC EID </a:t>
            </a:r>
          </a:p>
          <a:p>
            <a:pPr marL="852678" lvl="1" algn="just" fontAlgn="auto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itchFamily="34" charset="0"/>
              </a:rPr>
              <a:t>Understand and learn how to use the SPI-POCT checklist to assess facility performance</a:t>
            </a:r>
          </a:p>
          <a:p>
            <a:pPr marL="852678" lvl="1" algn="just" fontAlgn="auto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itchFamily="34" charset="0"/>
              </a:rPr>
              <a:t>Understand and learn how to use the mentorship/supervision checklist during field visits</a:t>
            </a:r>
          </a:p>
          <a:p>
            <a:pPr marL="852678" lvl="1" algn="just" fontAlgn="auto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itchFamily="34" charset="0"/>
              </a:rPr>
              <a:t>Understand how connectivity can be used to monitor program performance</a:t>
            </a:r>
          </a:p>
          <a:p>
            <a:pPr marL="109728" indent="0" fontAlgn="auto">
              <a:spcAft>
                <a:spcPts val="0"/>
              </a:spcAft>
              <a:buClr>
                <a:srgbClr val="FFC000"/>
              </a:buClr>
              <a:buNone/>
              <a:defRPr/>
            </a:pPr>
            <a:r>
              <a:rPr lang="en-US" sz="2000" dirty="0">
                <a:latin typeface="Calibri" pitchFamily="34" charset="0"/>
              </a:rPr>
              <a:t>	 </a:t>
            </a:r>
          </a:p>
          <a:p>
            <a:pPr marL="452628" algn="just" fontAlgn="auto">
              <a:lnSpc>
                <a:spcPct val="150000"/>
              </a:lnSpc>
              <a:spcAft>
                <a:spcPts val="0"/>
              </a:spcAft>
              <a:buClr>
                <a:srgbClr val="FFC000"/>
              </a:buClr>
              <a:buFont typeface="Wingdings" panose="05000000000000000000" pitchFamily="2" charset="2"/>
              <a:buChar char="q"/>
              <a:defRPr/>
            </a:pPr>
            <a:endParaRPr lang="en-US" sz="2000" dirty="0">
              <a:latin typeface="Calibri" pitchFamily="34" charset="0"/>
            </a:endParaRPr>
          </a:p>
          <a:p>
            <a:pPr marL="452628" algn="just" fontAlgn="auto">
              <a:lnSpc>
                <a:spcPct val="150000"/>
              </a:lnSpc>
              <a:spcAft>
                <a:spcPts val="0"/>
              </a:spcAft>
              <a:buClr>
                <a:srgbClr val="FFC000"/>
              </a:buClr>
              <a:buFont typeface="Wingdings" panose="05000000000000000000" pitchFamily="2" charset="2"/>
              <a:buChar char="q"/>
              <a:defRPr/>
            </a:pPr>
            <a:endParaRPr lang="en-US" sz="2000" dirty="0">
              <a:latin typeface="Calibri" pitchFamily="34" charset="0"/>
            </a:endParaRPr>
          </a:p>
          <a:p>
            <a:pPr marL="109728" indent="0" algn="just" fontAlgn="auto">
              <a:lnSpc>
                <a:spcPct val="150000"/>
              </a:lnSpc>
              <a:spcAft>
                <a:spcPts val="0"/>
              </a:spcAft>
              <a:buClr>
                <a:srgbClr val="FFC000"/>
              </a:buClr>
              <a:buNone/>
              <a:defRPr/>
            </a:pPr>
            <a:endParaRPr lang="en-US" sz="2000" dirty="0">
              <a:latin typeface="Calibri" pitchFamily="34" charset="0"/>
            </a:endParaRPr>
          </a:p>
          <a:p>
            <a:pPr marL="452628" algn="just" fontAlgn="auto">
              <a:lnSpc>
                <a:spcPct val="150000"/>
              </a:lnSpc>
              <a:spcAft>
                <a:spcPts val="0"/>
              </a:spcAft>
              <a:buClr>
                <a:srgbClr val="FFC000"/>
              </a:buClr>
              <a:buFont typeface="Wingdings" panose="05000000000000000000" pitchFamily="2" charset="2"/>
              <a:buChar char="q"/>
              <a:defRPr/>
            </a:pPr>
            <a:endParaRPr lang="en-US" sz="2000" dirty="0">
              <a:latin typeface="Calibri" pitchFamily="34" charset="0"/>
            </a:endParaRPr>
          </a:p>
        </p:txBody>
      </p:sp>
      <p:pic>
        <p:nvPicPr>
          <p:cNvPr id="10" name="Picture 9" descr="Image result for idea images clip a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4222" y="4589249"/>
            <a:ext cx="2139594" cy="176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84123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1570296" y="2399786"/>
            <a:ext cx="9708949" cy="633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"/>
            <a:ext cx="12188825" cy="1142997"/>
          </a:xfrm>
          <a:solidFill>
            <a:srgbClr val="215968"/>
          </a:solidFill>
        </p:spPr>
        <p:txBody>
          <a:bodyPr>
            <a:normAutofit/>
          </a:bodyPr>
          <a:lstStyle/>
          <a:p>
            <a:r>
              <a:rPr lang="en-US" sz="2400" dirty="0">
                <a:latin typeface="Calibri" charset="0"/>
              </a:rPr>
              <a:t>Agenda</a:t>
            </a:r>
            <a:endParaRPr lang="en-US" sz="2400" dirty="0"/>
          </a:p>
        </p:txBody>
      </p:sp>
      <p:grpSp>
        <p:nvGrpSpPr>
          <p:cNvPr id="24" name="Gruppieren 20"/>
          <p:cNvGrpSpPr/>
          <p:nvPr/>
        </p:nvGrpSpPr>
        <p:grpSpPr>
          <a:xfrm>
            <a:off x="507871" y="1528009"/>
            <a:ext cx="10771374" cy="538246"/>
            <a:chOff x="529965" y="3391846"/>
            <a:chExt cx="8080635" cy="538246"/>
          </a:xfrm>
        </p:grpSpPr>
        <p:sp>
          <p:nvSpPr>
            <p:cNvPr id="25" name="Rechteck 12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1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6" name="Rounded Rectangle 1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ＭＳ Ｐゴシック" pitchFamily="34" charset="-128"/>
                  <a:cs typeface="Calibri"/>
                </a:rPr>
                <a:t> Learning Objectives</a:t>
              </a:r>
            </a:p>
          </p:txBody>
        </p:sp>
        <p:sp>
          <p:nvSpPr>
            <p:cNvPr id="27" name="RbLeanShape Right Angle 16"/>
            <p:cNvSpPr/>
            <p:nvPr>
              <p:custDataLst>
                <p:tags r:id="rId18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8" name="Gruppieren 20"/>
          <p:cNvGrpSpPr/>
          <p:nvPr/>
        </p:nvGrpSpPr>
        <p:grpSpPr>
          <a:xfrm>
            <a:off x="507871" y="2344564"/>
            <a:ext cx="11163144" cy="538246"/>
            <a:chOff x="529965" y="3391846"/>
            <a:chExt cx="8374539" cy="538246"/>
          </a:xfrm>
        </p:grpSpPr>
        <p:sp>
          <p:nvSpPr>
            <p:cNvPr id="29" name="Rechteck 12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2</a:t>
              </a:r>
              <a:endParaRPr lang="en-GB" dirty="0">
                <a:solidFill>
                  <a:srgbClr val="EEECE1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30" name="Rounded Rectangle 13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398635" y="3558634"/>
              <a:ext cx="7505869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defTabSz="4572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US" dirty="0">
                  <a:solidFill>
                    <a:prstClr val="black"/>
                  </a:solidFill>
                  <a:ea typeface="ＭＳ Ｐゴシック" pitchFamily="34" charset="-128"/>
                  <a:cs typeface="Calibri"/>
                </a:rPr>
                <a:t>Quality Assurance (QA) framework and QA for POC EID Testing</a:t>
              </a:r>
            </a:p>
          </p:txBody>
        </p:sp>
        <p:sp>
          <p:nvSpPr>
            <p:cNvPr id="31" name="RbLeanShape Right Angle 16"/>
            <p:cNvSpPr/>
            <p:nvPr>
              <p:custDataLst>
                <p:tags r:id="rId15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2" name="Gruppieren 20"/>
          <p:cNvGrpSpPr/>
          <p:nvPr/>
        </p:nvGrpSpPr>
        <p:grpSpPr>
          <a:xfrm>
            <a:off x="507871" y="3182975"/>
            <a:ext cx="10771374" cy="538246"/>
            <a:chOff x="529965" y="3391846"/>
            <a:chExt cx="8080635" cy="538246"/>
          </a:xfrm>
        </p:grpSpPr>
        <p:sp>
          <p:nvSpPr>
            <p:cNvPr id="33" name="Rechteck 12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3</a:t>
              </a:r>
            </a:p>
          </p:txBody>
        </p:sp>
        <p:sp>
          <p:nvSpPr>
            <p:cNvPr id="34" name="Rounded Rectangle 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hangingPunct="0">
                <a:lnSpc>
                  <a:spcPct val="95000"/>
                </a:lnSpc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GB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 Use of SPI -POCT checklist or equivalent to certify POC EID Sites</a:t>
              </a:r>
            </a:p>
          </p:txBody>
        </p:sp>
        <p:sp>
          <p:nvSpPr>
            <p:cNvPr id="35" name="RbLeanShape Right Angle 16"/>
            <p:cNvSpPr/>
            <p:nvPr>
              <p:custDataLst>
                <p:tags r:id="rId12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40" name="Gruppieren 20"/>
          <p:cNvGrpSpPr/>
          <p:nvPr/>
        </p:nvGrpSpPr>
        <p:grpSpPr>
          <a:xfrm>
            <a:off x="507871" y="3956910"/>
            <a:ext cx="10771374" cy="538246"/>
            <a:chOff x="529965" y="3391846"/>
            <a:chExt cx="8080635" cy="538246"/>
          </a:xfrm>
        </p:grpSpPr>
        <p:sp>
          <p:nvSpPr>
            <p:cNvPr id="41" name="Rechteck 12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4</a:t>
              </a:r>
            </a:p>
          </p:txBody>
        </p:sp>
        <p:sp>
          <p:nvSpPr>
            <p:cNvPr id="42" name="Rounded 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supervision/mentorship checklist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3" name="RbLeanShape Right Angle 16"/>
            <p:cNvSpPr/>
            <p:nvPr>
              <p:custDataLst>
                <p:tags r:id="rId9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20" name="Gruppieren 20"/>
          <p:cNvGrpSpPr/>
          <p:nvPr/>
        </p:nvGrpSpPr>
        <p:grpSpPr>
          <a:xfrm>
            <a:off x="499154" y="4734068"/>
            <a:ext cx="10771374" cy="538246"/>
            <a:chOff x="529965" y="3391846"/>
            <a:chExt cx="8080635" cy="538246"/>
          </a:xfrm>
        </p:grpSpPr>
        <p:sp>
          <p:nvSpPr>
            <p:cNvPr id="21" name="Rechteck 1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5</a:t>
              </a:r>
            </a:p>
          </p:txBody>
        </p:sp>
        <p:sp>
          <p:nvSpPr>
            <p:cNvPr id="22" name="Rounded 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Use of connectivity to monitor performance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23" name="RbLeanShape Right Angle 16"/>
            <p:cNvSpPr/>
            <p:nvPr>
              <p:custDataLst>
                <p:tags r:id="rId6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  <p:grpSp>
        <p:nvGrpSpPr>
          <p:cNvPr id="37" name="Gruppieren 20"/>
          <p:cNvGrpSpPr/>
          <p:nvPr/>
        </p:nvGrpSpPr>
        <p:grpSpPr>
          <a:xfrm>
            <a:off x="499154" y="5486400"/>
            <a:ext cx="10771374" cy="538246"/>
            <a:chOff x="529965" y="3391846"/>
            <a:chExt cx="8080635" cy="538246"/>
          </a:xfrm>
        </p:grpSpPr>
        <p:sp>
          <p:nvSpPr>
            <p:cNvPr id="38" name="Rechteck 12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529965" y="3391846"/>
              <a:ext cx="598288" cy="538246"/>
            </a:xfrm>
            <a:prstGeom prst="rect">
              <a:avLst/>
            </a:prstGeom>
            <a:solidFill>
              <a:srgbClr val="21596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b="1" dirty="0">
                  <a:solidFill>
                    <a:srgbClr val="EEECE1"/>
                  </a:solidFill>
                  <a:ea typeface="MS PGothic" pitchFamily="34" charset="-128"/>
                  <a:cs typeface="Calibri"/>
                </a:rPr>
                <a:t>6</a:t>
              </a:r>
            </a:p>
          </p:txBody>
        </p:sp>
        <p:sp>
          <p:nvSpPr>
            <p:cNvPr id="39" name="Rounded Rectangle 1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398636" y="3558634"/>
              <a:ext cx="6800050" cy="263149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122238" lvl="1" indent="-122238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00000"/>
                <a:tabLst>
                  <a:tab pos="266700" algn="l"/>
                </a:tabLst>
              </a:pPr>
              <a:r>
                <a:rPr lang="en-IN" dirty="0">
                  <a:solidFill>
                    <a:srgbClr val="000000"/>
                  </a:solidFill>
                  <a:ea typeface="MS PGothic" pitchFamily="34" charset="-128"/>
                  <a:cs typeface="Calibri"/>
                </a:rPr>
                <a:t>Q&amp;A</a:t>
              </a:r>
              <a:endParaRPr lang="en-GB" dirty="0">
                <a:solidFill>
                  <a:srgbClr val="000000"/>
                </a:solidFill>
                <a:ea typeface="MS PGothic" pitchFamily="34" charset="-128"/>
                <a:cs typeface="Calibri"/>
              </a:endParaRPr>
            </a:p>
          </p:txBody>
        </p:sp>
        <p:sp>
          <p:nvSpPr>
            <p:cNvPr id="44" name="RbLeanShape Right Angle 16"/>
            <p:cNvSpPr/>
            <p:nvPr>
              <p:custDataLst>
                <p:tags r:id="rId3"/>
              </p:custDataLst>
            </p:nvPr>
          </p:nvSpPr>
          <p:spPr>
            <a:xfrm>
              <a:off x="1295400" y="3391846"/>
              <a:ext cx="7315200" cy="538246"/>
            </a:xfrm>
            <a:custGeom>
              <a:avLst/>
              <a:gdLst>
                <a:gd name="connsiteX0" fmla="*/ 1270000 w 1270000"/>
                <a:gd name="connsiteY0" fmla="*/ 0 h 476250"/>
                <a:gd name="connsiteX1" fmla="*/ 0 w 1270000"/>
                <a:gd name="connsiteY1" fmla="*/ 0 h 476250"/>
                <a:gd name="connsiteX2" fmla="*/ 0 w 1270000"/>
                <a:gd name="connsiteY2" fmla="*/ 476250 h 476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70000" h="476250">
                  <a:moveTo>
                    <a:pt x="1270000" y="0"/>
                  </a:moveTo>
                  <a:lnTo>
                    <a:pt x="0" y="0"/>
                  </a:lnTo>
                  <a:lnTo>
                    <a:pt x="0" y="476250"/>
                  </a:lnTo>
                </a:path>
              </a:pathLst>
            </a:custGeom>
            <a:ln w="12700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90000" tIns="90000" rIns="0" bIns="0" rtlCol="0" anchor="t"/>
            <a:lstStyle/>
            <a:p>
              <a:pPr fontAlgn="ctr">
                <a:spcBef>
                  <a:spcPct val="0"/>
                </a:spcBef>
                <a:spcAft>
                  <a:spcPct val="0"/>
                </a:spcAft>
              </a:pPr>
              <a:endParaRPr lang="en-GB" b="1" dirty="0">
                <a:solidFill>
                  <a:prstClr val="black"/>
                </a:solidFill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45935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57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Why is Quality Important?</a:t>
            </a:r>
          </a:p>
        </p:txBody>
      </p:sp>
      <p:sp>
        <p:nvSpPr>
          <p:cNvPr id="1048579" name="Rectangle 3"/>
          <p:cNvSpPr>
            <a:spLocks noChangeArrowheads="1"/>
          </p:cNvSpPr>
          <p:nvPr/>
        </p:nvSpPr>
        <p:spPr bwMode="auto">
          <a:xfrm>
            <a:off x="1117309" y="1981200"/>
            <a:ext cx="2844059" cy="1219200"/>
          </a:xfrm>
          <a:prstGeom prst="rect">
            <a:avLst/>
          </a:prstGeom>
          <a:solidFill>
            <a:srgbClr val="660066"/>
          </a:solidFill>
          <a:ln w="9525"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660066"/>
            </a:extrusionClr>
          </a:sp3d>
        </p:spPr>
        <p:txBody>
          <a:bodyPr wrap="none" anchor="ctr">
            <a:flatTx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Test Sit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 Quality</a:t>
            </a:r>
          </a:p>
        </p:txBody>
      </p:sp>
      <p:sp>
        <p:nvSpPr>
          <p:cNvPr id="1048580" name="Rectangle 4"/>
          <p:cNvSpPr>
            <a:spLocks noChangeArrowheads="1"/>
          </p:cNvSpPr>
          <p:nvPr/>
        </p:nvSpPr>
        <p:spPr bwMode="auto">
          <a:xfrm>
            <a:off x="3961368" y="3352800"/>
            <a:ext cx="2844059" cy="1219200"/>
          </a:xfrm>
          <a:prstGeom prst="rect">
            <a:avLst/>
          </a:prstGeom>
          <a:solidFill>
            <a:srgbClr val="660066"/>
          </a:solidFill>
          <a:ln w="9525"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660066"/>
            </a:extrusionClr>
          </a:sp3d>
        </p:spPr>
        <p:txBody>
          <a:bodyPr wrap="none" anchor="ctr">
            <a:flatTx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Accurate,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Reliabl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Testing</a:t>
            </a:r>
          </a:p>
        </p:txBody>
      </p:sp>
      <p:sp>
        <p:nvSpPr>
          <p:cNvPr id="1048581" name="Rectangle 5"/>
          <p:cNvSpPr>
            <a:spLocks noChangeArrowheads="1"/>
          </p:cNvSpPr>
          <p:nvPr/>
        </p:nvSpPr>
        <p:spPr bwMode="auto">
          <a:xfrm>
            <a:off x="6805427" y="4724400"/>
            <a:ext cx="2844059" cy="1219200"/>
          </a:xfrm>
          <a:prstGeom prst="rect">
            <a:avLst/>
          </a:prstGeom>
          <a:solidFill>
            <a:srgbClr val="660066"/>
          </a:solidFill>
          <a:ln w="9525"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660066"/>
            </a:extrusionClr>
          </a:sp3d>
        </p:spPr>
        <p:txBody>
          <a:bodyPr wrap="none" anchor="ctr">
            <a:flatTx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Quality in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All Aspects 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  <a:latin typeface="Calibri" pitchFamily="34" charset="0"/>
              </a:rPr>
              <a:t>of Health Care</a:t>
            </a:r>
          </a:p>
        </p:txBody>
      </p:sp>
      <p:sp>
        <p:nvSpPr>
          <p:cNvPr id="1048582" name="AutoShape 6"/>
          <p:cNvSpPr>
            <a:spLocks noChangeArrowheads="1"/>
          </p:cNvSpPr>
          <p:nvPr/>
        </p:nvSpPr>
        <p:spPr bwMode="auto">
          <a:xfrm rot="2037526">
            <a:off x="4342269" y="2305051"/>
            <a:ext cx="1625177" cy="569913"/>
          </a:xfrm>
          <a:prstGeom prst="curvedDownArrow">
            <a:avLst>
              <a:gd name="adj1" fmla="val 42785"/>
              <a:gd name="adj2" fmla="val 85571"/>
              <a:gd name="adj3" fmla="val 3333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48583" name="AutoShape 7"/>
          <p:cNvSpPr>
            <a:spLocks noChangeArrowheads="1"/>
          </p:cNvSpPr>
          <p:nvPr/>
        </p:nvSpPr>
        <p:spPr bwMode="auto">
          <a:xfrm rot="2037526">
            <a:off x="7313295" y="3733801"/>
            <a:ext cx="1625177" cy="569913"/>
          </a:xfrm>
          <a:prstGeom prst="curvedDownArrow">
            <a:avLst>
              <a:gd name="adj1" fmla="val 42785"/>
              <a:gd name="adj2" fmla="val 85571"/>
              <a:gd name="adj3" fmla="val 33333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737C211-6CC8-954A-99B4-03BDF036E46D}"/>
              </a:ext>
            </a:extLst>
          </p:cNvPr>
          <p:cNvSpPr/>
          <p:nvPr/>
        </p:nvSpPr>
        <p:spPr>
          <a:xfrm>
            <a:off x="11217866" y="167377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2199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55349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416" name="Rectangle 144"/>
          <p:cNvSpPr>
            <a:spLocks noGrp="1" noChangeArrowheads="1"/>
          </p:cNvSpPr>
          <p:nvPr>
            <p:ph type="title"/>
          </p:nvPr>
        </p:nvSpPr>
        <p:spPr>
          <a:xfrm>
            <a:off x="0" y="-7938"/>
            <a:ext cx="12188825" cy="1069848"/>
          </a:xfrm>
          <a:solidFill>
            <a:schemeClr val="accent5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914400" eaLnBrk="1" hangingPunct="1"/>
            <a:r>
              <a:rPr lang="en-US" sz="2400" dirty="0">
                <a:solidFill>
                  <a:schemeClr val="bg1"/>
                </a:solidFill>
                <a:ea typeface="+mj-ea"/>
                <a:cs typeface="+mj-cs"/>
              </a:rPr>
              <a:t> The Laboratory Quality System</a:t>
            </a:r>
          </a:p>
        </p:txBody>
      </p:sp>
      <p:grpSp>
        <p:nvGrpSpPr>
          <p:cNvPr id="2" name="Group 326"/>
          <p:cNvGrpSpPr>
            <a:grpSpLocks/>
          </p:cNvGrpSpPr>
          <p:nvPr/>
        </p:nvGrpSpPr>
        <p:grpSpPr bwMode="auto">
          <a:xfrm>
            <a:off x="4546788" y="1219200"/>
            <a:ext cx="6813892" cy="5410200"/>
            <a:chOff x="1248" y="672"/>
            <a:chExt cx="3220" cy="3408"/>
          </a:xfrm>
        </p:grpSpPr>
        <p:sp>
          <p:nvSpPr>
            <p:cNvPr id="1078519" name="AutoShape 247" descr="Newsprint"/>
            <p:cNvSpPr>
              <a:spLocks noChangeArrowheads="1"/>
            </p:cNvSpPr>
            <p:nvPr/>
          </p:nvSpPr>
          <p:spPr bwMode="auto">
            <a:xfrm>
              <a:off x="1248" y="672"/>
              <a:ext cx="3216" cy="3408"/>
            </a:xfrm>
            <a:prstGeom prst="roundRect">
              <a:avLst>
                <a:gd name="adj" fmla="val 16667"/>
              </a:avLst>
            </a:prstGeom>
            <a:blipFill dpi="0" rotWithShape="1">
              <a:blip r:embed="rId3" cstate="print"/>
              <a:srcRect/>
              <a:tile tx="0" ty="0" sx="100000" sy="100000" flip="none" algn="tl"/>
            </a:blip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grpSp>
          <p:nvGrpSpPr>
            <p:cNvPr id="3" name="Group 248"/>
            <p:cNvGrpSpPr>
              <a:grpSpLocks/>
            </p:cNvGrpSpPr>
            <p:nvPr/>
          </p:nvGrpSpPr>
          <p:grpSpPr bwMode="auto">
            <a:xfrm>
              <a:off x="1278" y="731"/>
              <a:ext cx="3190" cy="3306"/>
              <a:chOff x="1319" y="709"/>
              <a:chExt cx="3183" cy="3295"/>
            </a:xfrm>
          </p:grpSpPr>
          <p:sp>
            <p:nvSpPr>
              <p:cNvPr id="1078521" name="Rectangle 249"/>
              <p:cNvSpPr>
                <a:spLocks noChangeArrowheads="1"/>
              </p:cNvSpPr>
              <p:nvPr/>
            </p:nvSpPr>
            <p:spPr bwMode="auto">
              <a:xfrm>
                <a:off x="1761" y="3671"/>
                <a:ext cx="2123" cy="14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2" name="Rectangle 250"/>
              <p:cNvSpPr>
                <a:spLocks noChangeArrowheads="1"/>
              </p:cNvSpPr>
              <p:nvPr/>
            </p:nvSpPr>
            <p:spPr bwMode="auto">
              <a:xfrm>
                <a:off x="1819" y="1951"/>
                <a:ext cx="2123" cy="14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3" name="Rectangle 251"/>
              <p:cNvSpPr>
                <a:spLocks noChangeArrowheads="1"/>
              </p:cNvSpPr>
              <p:nvPr/>
            </p:nvSpPr>
            <p:spPr bwMode="auto">
              <a:xfrm>
                <a:off x="1771" y="2796"/>
                <a:ext cx="2123" cy="14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4" name="Freeform 252"/>
              <p:cNvSpPr>
                <a:spLocks/>
              </p:cNvSpPr>
              <p:nvPr/>
            </p:nvSpPr>
            <p:spPr bwMode="auto">
              <a:xfrm>
                <a:off x="2666" y="2465"/>
                <a:ext cx="79" cy="46"/>
              </a:xfrm>
              <a:custGeom>
                <a:avLst/>
                <a:gdLst/>
                <a:ahLst/>
                <a:cxnLst>
                  <a:cxn ang="0">
                    <a:pos x="377" y="0"/>
                  </a:cxn>
                  <a:cxn ang="0">
                    <a:pos x="378" y="21"/>
                  </a:cxn>
                  <a:cxn ang="0">
                    <a:pos x="378" y="40"/>
                  </a:cxn>
                  <a:cxn ang="0">
                    <a:pos x="380" y="58"/>
                  </a:cxn>
                  <a:cxn ang="0">
                    <a:pos x="381" y="75"/>
                  </a:cxn>
                  <a:cxn ang="0">
                    <a:pos x="386" y="104"/>
                  </a:cxn>
                  <a:cxn ang="0">
                    <a:pos x="390" y="130"/>
                  </a:cxn>
                  <a:cxn ang="0">
                    <a:pos x="392" y="151"/>
                  </a:cxn>
                  <a:cxn ang="0">
                    <a:pos x="392" y="169"/>
                  </a:cxn>
                  <a:cxn ang="0">
                    <a:pos x="392" y="175"/>
                  </a:cxn>
                  <a:cxn ang="0">
                    <a:pos x="390" y="183"/>
                  </a:cxn>
                  <a:cxn ang="0">
                    <a:pos x="387" y="188"/>
                  </a:cxn>
                  <a:cxn ang="0">
                    <a:pos x="382" y="194"/>
                  </a:cxn>
                  <a:cxn ang="0">
                    <a:pos x="377" y="198"/>
                  </a:cxn>
                  <a:cxn ang="0">
                    <a:pos x="369" y="203"/>
                  </a:cxn>
                  <a:cxn ang="0">
                    <a:pos x="361" y="206"/>
                  </a:cxn>
                  <a:cxn ang="0">
                    <a:pos x="351" y="209"/>
                  </a:cxn>
                  <a:cxn ang="0">
                    <a:pos x="338" y="211"/>
                  </a:cxn>
                  <a:cxn ang="0">
                    <a:pos x="324" y="213"/>
                  </a:cxn>
                  <a:cxn ang="0">
                    <a:pos x="307" y="216"/>
                  </a:cxn>
                  <a:cxn ang="0">
                    <a:pos x="289" y="218"/>
                  </a:cxn>
                  <a:cxn ang="0">
                    <a:pos x="188" y="224"/>
                  </a:cxn>
                  <a:cxn ang="0">
                    <a:pos x="41" y="230"/>
                  </a:cxn>
                  <a:cxn ang="0">
                    <a:pos x="35" y="223"/>
                  </a:cxn>
                  <a:cxn ang="0">
                    <a:pos x="21" y="202"/>
                  </a:cxn>
                  <a:cxn ang="0">
                    <a:pos x="13" y="186"/>
                  </a:cxn>
                  <a:cxn ang="0">
                    <a:pos x="6" y="169"/>
                  </a:cxn>
                  <a:cxn ang="0">
                    <a:pos x="3" y="159"/>
                  </a:cxn>
                  <a:cxn ang="0">
                    <a:pos x="1" y="148"/>
                  </a:cxn>
                  <a:cxn ang="0">
                    <a:pos x="0" y="137"/>
                  </a:cxn>
                  <a:cxn ang="0">
                    <a:pos x="0" y="125"/>
                  </a:cxn>
                  <a:cxn ang="0">
                    <a:pos x="0" y="114"/>
                  </a:cxn>
                  <a:cxn ang="0">
                    <a:pos x="1" y="103"/>
                  </a:cxn>
                  <a:cxn ang="0">
                    <a:pos x="2" y="94"/>
                  </a:cxn>
                  <a:cxn ang="0">
                    <a:pos x="3" y="85"/>
                  </a:cxn>
                  <a:cxn ang="0">
                    <a:pos x="5" y="77"/>
                  </a:cxn>
                  <a:cxn ang="0">
                    <a:pos x="9" y="69"/>
                  </a:cxn>
                  <a:cxn ang="0">
                    <a:pos x="12" y="62"/>
                  </a:cxn>
                  <a:cxn ang="0">
                    <a:pos x="15" y="54"/>
                  </a:cxn>
                  <a:cxn ang="0">
                    <a:pos x="24" y="41"/>
                  </a:cxn>
                  <a:cxn ang="0">
                    <a:pos x="35" y="28"/>
                  </a:cxn>
                  <a:cxn ang="0">
                    <a:pos x="48" y="14"/>
                  </a:cxn>
                  <a:cxn ang="0">
                    <a:pos x="63" y="0"/>
                  </a:cxn>
                  <a:cxn ang="0">
                    <a:pos x="377" y="0"/>
                  </a:cxn>
                </a:cxnLst>
                <a:rect l="0" t="0" r="r" b="b"/>
                <a:pathLst>
                  <a:path w="392" h="230">
                    <a:moveTo>
                      <a:pt x="377" y="0"/>
                    </a:moveTo>
                    <a:lnTo>
                      <a:pt x="378" y="21"/>
                    </a:lnTo>
                    <a:lnTo>
                      <a:pt x="378" y="40"/>
                    </a:lnTo>
                    <a:lnTo>
                      <a:pt x="380" y="58"/>
                    </a:lnTo>
                    <a:lnTo>
                      <a:pt x="381" y="75"/>
                    </a:lnTo>
                    <a:lnTo>
                      <a:pt x="386" y="104"/>
                    </a:lnTo>
                    <a:lnTo>
                      <a:pt x="390" y="130"/>
                    </a:lnTo>
                    <a:lnTo>
                      <a:pt x="392" y="151"/>
                    </a:lnTo>
                    <a:lnTo>
                      <a:pt x="392" y="169"/>
                    </a:lnTo>
                    <a:lnTo>
                      <a:pt x="392" y="175"/>
                    </a:lnTo>
                    <a:lnTo>
                      <a:pt x="390" y="183"/>
                    </a:lnTo>
                    <a:lnTo>
                      <a:pt x="387" y="188"/>
                    </a:lnTo>
                    <a:lnTo>
                      <a:pt x="382" y="194"/>
                    </a:lnTo>
                    <a:lnTo>
                      <a:pt x="377" y="198"/>
                    </a:lnTo>
                    <a:lnTo>
                      <a:pt x="369" y="203"/>
                    </a:lnTo>
                    <a:lnTo>
                      <a:pt x="361" y="206"/>
                    </a:lnTo>
                    <a:lnTo>
                      <a:pt x="351" y="209"/>
                    </a:lnTo>
                    <a:lnTo>
                      <a:pt x="338" y="211"/>
                    </a:lnTo>
                    <a:lnTo>
                      <a:pt x="324" y="213"/>
                    </a:lnTo>
                    <a:lnTo>
                      <a:pt x="307" y="216"/>
                    </a:lnTo>
                    <a:lnTo>
                      <a:pt x="289" y="218"/>
                    </a:lnTo>
                    <a:lnTo>
                      <a:pt x="188" y="224"/>
                    </a:lnTo>
                    <a:lnTo>
                      <a:pt x="41" y="230"/>
                    </a:lnTo>
                    <a:lnTo>
                      <a:pt x="35" y="223"/>
                    </a:lnTo>
                    <a:lnTo>
                      <a:pt x="21" y="202"/>
                    </a:lnTo>
                    <a:lnTo>
                      <a:pt x="13" y="186"/>
                    </a:lnTo>
                    <a:lnTo>
                      <a:pt x="6" y="169"/>
                    </a:lnTo>
                    <a:lnTo>
                      <a:pt x="3" y="159"/>
                    </a:lnTo>
                    <a:lnTo>
                      <a:pt x="1" y="148"/>
                    </a:lnTo>
                    <a:lnTo>
                      <a:pt x="0" y="137"/>
                    </a:lnTo>
                    <a:lnTo>
                      <a:pt x="0" y="125"/>
                    </a:lnTo>
                    <a:lnTo>
                      <a:pt x="0" y="114"/>
                    </a:lnTo>
                    <a:lnTo>
                      <a:pt x="1" y="103"/>
                    </a:lnTo>
                    <a:lnTo>
                      <a:pt x="2" y="94"/>
                    </a:lnTo>
                    <a:lnTo>
                      <a:pt x="3" y="85"/>
                    </a:lnTo>
                    <a:lnTo>
                      <a:pt x="5" y="77"/>
                    </a:lnTo>
                    <a:lnTo>
                      <a:pt x="9" y="69"/>
                    </a:lnTo>
                    <a:lnTo>
                      <a:pt x="12" y="62"/>
                    </a:lnTo>
                    <a:lnTo>
                      <a:pt x="15" y="54"/>
                    </a:lnTo>
                    <a:lnTo>
                      <a:pt x="24" y="41"/>
                    </a:lnTo>
                    <a:lnTo>
                      <a:pt x="35" y="28"/>
                    </a:lnTo>
                    <a:lnTo>
                      <a:pt x="48" y="14"/>
                    </a:lnTo>
                    <a:lnTo>
                      <a:pt x="63" y="0"/>
                    </a:lnTo>
                    <a:lnTo>
                      <a:pt x="377" y="0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5" name="Freeform 253"/>
              <p:cNvSpPr>
                <a:spLocks/>
              </p:cNvSpPr>
              <p:nvPr/>
            </p:nvSpPr>
            <p:spPr bwMode="auto">
              <a:xfrm>
                <a:off x="2645" y="2460"/>
                <a:ext cx="212" cy="248"/>
              </a:xfrm>
              <a:custGeom>
                <a:avLst/>
                <a:gdLst/>
                <a:ahLst/>
                <a:cxnLst>
                  <a:cxn ang="0">
                    <a:pos x="773" y="75"/>
                  </a:cxn>
                  <a:cxn ang="0">
                    <a:pos x="765" y="133"/>
                  </a:cxn>
                  <a:cxn ang="0">
                    <a:pos x="779" y="172"/>
                  </a:cxn>
                  <a:cxn ang="0">
                    <a:pos x="820" y="201"/>
                  </a:cxn>
                  <a:cxn ang="0">
                    <a:pos x="886" y="200"/>
                  </a:cxn>
                  <a:cxn ang="0">
                    <a:pos x="956" y="183"/>
                  </a:cxn>
                  <a:cxn ang="0">
                    <a:pos x="993" y="193"/>
                  </a:cxn>
                  <a:cxn ang="0">
                    <a:pos x="1008" y="222"/>
                  </a:cxn>
                  <a:cxn ang="0">
                    <a:pos x="1024" y="262"/>
                  </a:cxn>
                  <a:cxn ang="0">
                    <a:pos x="1041" y="292"/>
                  </a:cxn>
                  <a:cxn ang="0">
                    <a:pos x="1033" y="330"/>
                  </a:cxn>
                  <a:cxn ang="0">
                    <a:pos x="980" y="406"/>
                  </a:cxn>
                  <a:cxn ang="0">
                    <a:pos x="966" y="462"/>
                  </a:cxn>
                  <a:cxn ang="0">
                    <a:pos x="1024" y="534"/>
                  </a:cxn>
                  <a:cxn ang="0">
                    <a:pos x="1054" y="612"/>
                  </a:cxn>
                  <a:cxn ang="0">
                    <a:pos x="1052" y="662"/>
                  </a:cxn>
                  <a:cxn ang="0">
                    <a:pos x="1040" y="755"/>
                  </a:cxn>
                  <a:cxn ang="0">
                    <a:pos x="1014" y="833"/>
                  </a:cxn>
                  <a:cxn ang="0">
                    <a:pos x="978" y="875"/>
                  </a:cxn>
                  <a:cxn ang="0">
                    <a:pos x="923" y="892"/>
                  </a:cxn>
                  <a:cxn ang="0">
                    <a:pos x="859" y="897"/>
                  </a:cxn>
                  <a:cxn ang="0">
                    <a:pos x="817" y="903"/>
                  </a:cxn>
                  <a:cxn ang="0">
                    <a:pos x="785" y="879"/>
                  </a:cxn>
                  <a:cxn ang="0">
                    <a:pos x="734" y="822"/>
                  </a:cxn>
                  <a:cxn ang="0">
                    <a:pos x="696" y="821"/>
                  </a:cxn>
                  <a:cxn ang="0">
                    <a:pos x="642" y="866"/>
                  </a:cxn>
                  <a:cxn ang="0">
                    <a:pos x="583" y="895"/>
                  </a:cxn>
                  <a:cxn ang="0">
                    <a:pos x="559" y="920"/>
                  </a:cxn>
                  <a:cxn ang="0">
                    <a:pos x="547" y="964"/>
                  </a:cxn>
                  <a:cxn ang="0">
                    <a:pos x="560" y="1033"/>
                  </a:cxn>
                  <a:cxn ang="0">
                    <a:pos x="608" y="1134"/>
                  </a:cxn>
                  <a:cxn ang="0">
                    <a:pos x="565" y="1115"/>
                  </a:cxn>
                  <a:cxn ang="0">
                    <a:pos x="526" y="1123"/>
                  </a:cxn>
                  <a:cxn ang="0">
                    <a:pos x="484" y="1150"/>
                  </a:cxn>
                  <a:cxn ang="0">
                    <a:pos x="438" y="1207"/>
                  </a:cxn>
                  <a:cxn ang="0">
                    <a:pos x="354" y="1174"/>
                  </a:cxn>
                  <a:cxn ang="0">
                    <a:pos x="303" y="1076"/>
                  </a:cxn>
                  <a:cxn ang="0">
                    <a:pos x="229" y="981"/>
                  </a:cxn>
                  <a:cxn ang="0">
                    <a:pos x="90" y="840"/>
                  </a:cxn>
                  <a:cxn ang="0">
                    <a:pos x="34" y="760"/>
                  </a:cxn>
                  <a:cxn ang="0">
                    <a:pos x="2" y="657"/>
                  </a:cxn>
                  <a:cxn ang="0">
                    <a:pos x="5" y="566"/>
                  </a:cxn>
                  <a:cxn ang="0">
                    <a:pos x="32" y="509"/>
                  </a:cxn>
                  <a:cxn ang="0">
                    <a:pos x="112" y="422"/>
                  </a:cxn>
                  <a:cxn ang="0">
                    <a:pos x="151" y="364"/>
                  </a:cxn>
                  <a:cxn ang="0">
                    <a:pos x="157" y="301"/>
                  </a:cxn>
                  <a:cxn ang="0">
                    <a:pos x="237" y="258"/>
                  </a:cxn>
                  <a:cxn ang="0">
                    <a:pos x="398" y="259"/>
                  </a:cxn>
                  <a:cxn ang="0">
                    <a:pos x="483" y="241"/>
                  </a:cxn>
                  <a:cxn ang="0">
                    <a:pos x="514" y="204"/>
                  </a:cxn>
                  <a:cxn ang="0">
                    <a:pos x="504" y="125"/>
                  </a:cxn>
                  <a:cxn ang="0">
                    <a:pos x="483" y="17"/>
                  </a:cxn>
                </a:cxnLst>
                <a:rect l="0" t="0" r="r" b="b"/>
                <a:pathLst>
                  <a:path w="1056" h="1238">
                    <a:moveTo>
                      <a:pt x="797" y="22"/>
                    </a:moveTo>
                    <a:lnTo>
                      <a:pt x="793" y="28"/>
                    </a:lnTo>
                    <a:lnTo>
                      <a:pt x="783" y="48"/>
                    </a:lnTo>
                    <a:lnTo>
                      <a:pt x="777" y="61"/>
                    </a:lnTo>
                    <a:lnTo>
                      <a:pt x="773" y="75"/>
                    </a:lnTo>
                    <a:lnTo>
                      <a:pt x="769" y="92"/>
                    </a:lnTo>
                    <a:lnTo>
                      <a:pt x="765" y="108"/>
                    </a:lnTo>
                    <a:lnTo>
                      <a:pt x="764" y="117"/>
                    </a:lnTo>
                    <a:lnTo>
                      <a:pt x="764" y="124"/>
                    </a:lnTo>
                    <a:lnTo>
                      <a:pt x="765" y="133"/>
                    </a:lnTo>
                    <a:lnTo>
                      <a:pt x="766" y="142"/>
                    </a:lnTo>
                    <a:lnTo>
                      <a:pt x="769" y="149"/>
                    </a:lnTo>
                    <a:lnTo>
                      <a:pt x="771" y="157"/>
                    </a:lnTo>
                    <a:lnTo>
                      <a:pt x="774" y="165"/>
                    </a:lnTo>
                    <a:lnTo>
                      <a:pt x="779" y="172"/>
                    </a:lnTo>
                    <a:lnTo>
                      <a:pt x="785" y="179"/>
                    </a:lnTo>
                    <a:lnTo>
                      <a:pt x="791" y="185"/>
                    </a:lnTo>
                    <a:lnTo>
                      <a:pt x="800" y="191"/>
                    </a:lnTo>
                    <a:lnTo>
                      <a:pt x="809" y="196"/>
                    </a:lnTo>
                    <a:lnTo>
                      <a:pt x="820" y="201"/>
                    </a:lnTo>
                    <a:lnTo>
                      <a:pt x="832" y="205"/>
                    </a:lnTo>
                    <a:lnTo>
                      <a:pt x="845" y="208"/>
                    </a:lnTo>
                    <a:lnTo>
                      <a:pt x="860" y="210"/>
                    </a:lnTo>
                    <a:lnTo>
                      <a:pt x="867" y="207"/>
                    </a:lnTo>
                    <a:lnTo>
                      <a:pt x="886" y="200"/>
                    </a:lnTo>
                    <a:lnTo>
                      <a:pt x="898" y="195"/>
                    </a:lnTo>
                    <a:lnTo>
                      <a:pt x="911" y="191"/>
                    </a:lnTo>
                    <a:lnTo>
                      <a:pt x="927" y="186"/>
                    </a:lnTo>
                    <a:lnTo>
                      <a:pt x="941" y="184"/>
                    </a:lnTo>
                    <a:lnTo>
                      <a:pt x="956" y="183"/>
                    </a:lnTo>
                    <a:lnTo>
                      <a:pt x="969" y="184"/>
                    </a:lnTo>
                    <a:lnTo>
                      <a:pt x="976" y="185"/>
                    </a:lnTo>
                    <a:lnTo>
                      <a:pt x="982" y="186"/>
                    </a:lnTo>
                    <a:lnTo>
                      <a:pt x="988" y="190"/>
                    </a:lnTo>
                    <a:lnTo>
                      <a:pt x="993" y="193"/>
                    </a:lnTo>
                    <a:lnTo>
                      <a:pt x="997" y="196"/>
                    </a:lnTo>
                    <a:lnTo>
                      <a:pt x="1001" y="202"/>
                    </a:lnTo>
                    <a:lnTo>
                      <a:pt x="1004" y="207"/>
                    </a:lnTo>
                    <a:lnTo>
                      <a:pt x="1006" y="215"/>
                    </a:lnTo>
                    <a:lnTo>
                      <a:pt x="1008" y="222"/>
                    </a:lnTo>
                    <a:lnTo>
                      <a:pt x="1008" y="231"/>
                    </a:lnTo>
                    <a:lnTo>
                      <a:pt x="1008" y="241"/>
                    </a:lnTo>
                    <a:lnTo>
                      <a:pt x="1007" y="252"/>
                    </a:lnTo>
                    <a:lnTo>
                      <a:pt x="1016" y="256"/>
                    </a:lnTo>
                    <a:lnTo>
                      <a:pt x="1024" y="262"/>
                    </a:lnTo>
                    <a:lnTo>
                      <a:pt x="1029" y="267"/>
                    </a:lnTo>
                    <a:lnTo>
                      <a:pt x="1034" y="273"/>
                    </a:lnTo>
                    <a:lnTo>
                      <a:pt x="1038" y="279"/>
                    </a:lnTo>
                    <a:lnTo>
                      <a:pt x="1040" y="286"/>
                    </a:lnTo>
                    <a:lnTo>
                      <a:pt x="1041" y="292"/>
                    </a:lnTo>
                    <a:lnTo>
                      <a:pt x="1041" y="300"/>
                    </a:lnTo>
                    <a:lnTo>
                      <a:pt x="1040" y="307"/>
                    </a:lnTo>
                    <a:lnTo>
                      <a:pt x="1039" y="315"/>
                    </a:lnTo>
                    <a:lnTo>
                      <a:pt x="1036" y="323"/>
                    </a:lnTo>
                    <a:lnTo>
                      <a:pt x="1033" y="330"/>
                    </a:lnTo>
                    <a:lnTo>
                      <a:pt x="1025" y="347"/>
                    </a:lnTo>
                    <a:lnTo>
                      <a:pt x="1015" y="362"/>
                    </a:lnTo>
                    <a:lnTo>
                      <a:pt x="1003" y="378"/>
                    </a:lnTo>
                    <a:lnTo>
                      <a:pt x="991" y="392"/>
                    </a:lnTo>
                    <a:lnTo>
                      <a:pt x="980" y="406"/>
                    </a:lnTo>
                    <a:lnTo>
                      <a:pt x="968" y="418"/>
                    </a:lnTo>
                    <a:lnTo>
                      <a:pt x="951" y="435"/>
                    </a:lnTo>
                    <a:lnTo>
                      <a:pt x="944" y="442"/>
                    </a:lnTo>
                    <a:lnTo>
                      <a:pt x="949" y="447"/>
                    </a:lnTo>
                    <a:lnTo>
                      <a:pt x="966" y="462"/>
                    </a:lnTo>
                    <a:lnTo>
                      <a:pt x="977" y="473"/>
                    </a:lnTo>
                    <a:lnTo>
                      <a:pt x="988" y="486"/>
                    </a:lnTo>
                    <a:lnTo>
                      <a:pt x="1000" y="501"/>
                    </a:lnTo>
                    <a:lnTo>
                      <a:pt x="1012" y="517"/>
                    </a:lnTo>
                    <a:lnTo>
                      <a:pt x="1024" y="534"/>
                    </a:lnTo>
                    <a:lnTo>
                      <a:pt x="1033" y="553"/>
                    </a:lnTo>
                    <a:lnTo>
                      <a:pt x="1043" y="572"/>
                    </a:lnTo>
                    <a:lnTo>
                      <a:pt x="1050" y="592"/>
                    </a:lnTo>
                    <a:lnTo>
                      <a:pt x="1053" y="602"/>
                    </a:lnTo>
                    <a:lnTo>
                      <a:pt x="1054" y="612"/>
                    </a:lnTo>
                    <a:lnTo>
                      <a:pt x="1056" y="621"/>
                    </a:lnTo>
                    <a:lnTo>
                      <a:pt x="1056" y="632"/>
                    </a:lnTo>
                    <a:lnTo>
                      <a:pt x="1056" y="642"/>
                    </a:lnTo>
                    <a:lnTo>
                      <a:pt x="1054" y="652"/>
                    </a:lnTo>
                    <a:lnTo>
                      <a:pt x="1052" y="662"/>
                    </a:lnTo>
                    <a:lnTo>
                      <a:pt x="1049" y="671"/>
                    </a:lnTo>
                    <a:lnTo>
                      <a:pt x="1049" y="683"/>
                    </a:lnTo>
                    <a:lnTo>
                      <a:pt x="1046" y="714"/>
                    </a:lnTo>
                    <a:lnTo>
                      <a:pt x="1043" y="734"/>
                    </a:lnTo>
                    <a:lnTo>
                      <a:pt x="1040" y="755"/>
                    </a:lnTo>
                    <a:lnTo>
                      <a:pt x="1034" y="777"/>
                    </a:lnTo>
                    <a:lnTo>
                      <a:pt x="1028" y="800"/>
                    </a:lnTo>
                    <a:lnTo>
                      <a:pt x="1024" y="812"/>
                    </a:lnTo>
                    <a:lnTo>
                      <a:pt x="1019" y="823"/>
                    </a:lnTo>
                    <a:lnTo>
                      <a:pt x="1014" y="833"/>
                    </a:lnTo>
                    <a:lnTo>
                      <a:pt x="1007" y="843"/>
                    </a:lnTo>
                    <a:lnTo>
                      <a:pt x="1001" y="852"/>
                    </a:lnTo>
                    <a:lnTo>
                      <a:pt x="994" y="861"/>
                    </a:lnTo>
                    <a:lnTo>
                      <a:pt x="987" y="869"/>
                    </a:lnTo>
                    <a:lnTo>
                      <a:pt x="978" y="875"/>
                    </a:lnTo>
                    <a:lnTo>
                      <a:pt x="969" y="882"/>
                    </a:lnTo>
                    <a:lnTo>
                      <a:pt x="958" y="886"/>
                    </a:lnTo>
                    <a:lnTo>
                      <a:pt x="947" y="889"/>
                    </a:lnTo>
                    <a:lnTo>
                      <a:pt x="936" y="891"/>
                    </a:lnTo>
                    <a:lnTo>
                      <a:pt x="923" y="892"/>
                    </a:lnTo>
                    <a:lnTo>
                      <a:pt x="910" y="889"/>
                    </a:lnTo>
                    <a:lnTo>
                      <a:pt x="896" y="886"/>
                    </a:lnTo>
                    <a:lnTo>
                      <a:pt x="881" y="882"/>
                    </a:lnTo>
                    <a:lnTo>
                      <a:pt x="870" y="891"/>
                    </a:lnTo>
                    <a:lnTo>
                      <a:pt x="859" y="897"/>
                    </a:lnTo>
                    <a:lnTo>
                      <a:pt x="849" y="901"/>
                    </a:lnTo>
                    <a:lnTo>
                      <a:pt x="839" y="904"/>
                    </a:lnTo>
                    <a:lnTo>
                      <a:pt x="832" y="905"/>
                    </a:lnTo>
                    <a:lnTo>
                      <a:pt x="823" y="905"/>
                    </a:lnTo>
                    <a:lnTo>
                      <a:pt x="817" y="903"/>
                    </a:lnTo>
                    <a:lnTo>
                      <a:pt x="809" y="899"/>
                    </a:lnTo>
                    <a:lnTo>
                      <a:pt x="802" y="895"/>
                    </a:lnTo>
                    <a:lnTo>
                      <a:pt x="796" y="891"/>
                    </a:lnTo>
                    <a:lnTo>
                      <a:pt x="790" y="884"/>
                    </a:lnTo>
                    <a:lnTo>
                      <a:pt x="785" y="879"/>
                    </a:lnTo>
                    <a:lnTo>
                      <a:pt x="774" y="864"/>
                    </a:lnTo>
                    <a:lnTo>
                      <a:pt x="763" y="850"/>
                    </a:lnTo>
                    <a:lnTo>
                      <a:pt x="752" y="837"/>
                    </a:lnTo>
                    <a:lnTo>
                      <a:pt x="740" y="826"/>
                    </a:lnTo>
                    <a:lnTo>
                      <a:pt x="734" y="822"/>
                    </a:lnTo>
                    <a:lnTo>
                      <a:pt x="727" y="820"/>
                    </a:lnTo>
                    <a:lnTo>
                      <a:pt x="721" y="818"/>
                    </a:lnTo>
                    <a:lnTo>
                      <a:pt x="713" y="816"/>
                    </a:lnTo>
                    <a:lnTo>
                      <a:pt x="704" y="818"/>
                    </a:lnTo>
                    <a:lnTo>
                      <a:pt x="696" y="821"/>
                    </a:lnTo>
                    <a:lnTo>
                      <a:pt x="687" y="825"/>
                    </a:lnTo>
                    <a:lnTo>
                      <a:pt x="677" y="832"/>
                    </a:lnTo>
                    <a:lnTo>
                      <a:pt x="666" y="840"/>
                    </a:lnTo>
                    <a:lnTo>
                      <a:pt x="655" y="851"/>
                    </a:lnTo>
                    <a:lnTo>
                      <a:pt x="642" y="866"/>
                    </a:lnTo>
                    <a:lnTo>
                      <a:pt x="629" y="882"/>
                    </a:lnTo>
                    <a:lnTo>
                      <a:pt x="623" y="882"/>
                    </a:lnTo>
                    <a:lnTo>
                      <a:pt x="605" y="886"/>
                    </a:lnTo>
                    <a:lnTo>
                      <a:pt x="594" y="889"/>
                    </a:lnTo>
                    <a:lnTo>
                      <a:pt x="583" y="895"/>
                    </a:lnTo>
                    <a:lnTo>
                      <a:pt x="578" y="898"/>
                    </a:lnTo>
                    <a:lnTo>
                      <a:pt x="573" y="903"/>
                    </a:lnTo>
                    <a:lnTo>
                      <a:pt x="568" y="908"/>
                    </a:lnTo>
                    <a:lnTo>
                      <a:pt x="564" y="913"/>
                    </a:lnTo>
                    <a:lnTo>
                      <a:pt x="559" y="920"/>
                    </a:lnTo>
                    <a:lnTo>
                      <a:pt x="556" y="927"/>
                    </a:lnTo>
                    <a:lnTo>
                      <a:pt x="553" y="934"/>
                    </a:lnTo>
                    <a:lnTo>
                      <a:pt x="551" y="943"/>
                    </a:lnTo>
                    <a:lnTo>
                      <a:pt x="548" y="953"/>
                    </a:lnTo>
                    <a:lnTo>
                      <a:pt x="547" y="964"/>
                    </a:lnTo>
                    <a:lnTo>
                      <a:pt x="548" y="976"/>
                    </a:lnTo>
                    <a:lnTo>
                      <a:pt x="549" y="988"/>
                    </a:lnTo>
                    <a:lnTo>
                      <a:pt x="552" y="1002"/>
                    </a:lnTo>
                    <a:lnTo>
                      <a:pt x="555" y="1017"/>
                    </a:lnTo>
                    <a:lnTo>
                      <a:pt x="560" y="1033"/>
                    </a:lnTo>
                    <a:lnTo>
                      <a:pt x="567" y="1051"/>
                    </a:lnTo>
                    <a:lnTo>
                      <a:pt x="575" y="1069"/>
                    </a:lnTo>
                    <a:lnTo>
                      <a:pt x="584" y="1089"/>
                    </a:lnTo>
                    <a:lnTo>
                      <a:pt x="595" y="1111"/>
                    </a:lnTo>
                    <a:lnTo>
                      <a:pt x="608" y="1134"/>
                    </a:lnTo>
                    <a:lnTo>
                      <a:pt x="604" y="1130"/>
                    </a:lnTo>
                    <a:lnTo>
                      <a:pt x="593" y="1124"/>
                    </a:lnTo>
                    <a:lnTo>
                      <a:pt x="585" y="1119"/>
                    </a:lnTo>
                    <a:lnTo>
                      <a:pt x="576" y="1117"/>
                    </a:lnTo>
                    <a:lnTo>
                      <a:pt x="565" y="1115"/>
                    </a:lnTo>
                    <a:lnTo>
                      <a:pt x="553" y="1115"/>
                    </a:lnTo>
                    <a:lnTo>
                      <a:pt x="546" y="1116"/>
                    </a:lnTo>
                    <a:lnTo>
                      <a:pt x="540" y="1117"/>
                    </a:lnTo>
                    <a:lnTo>
                      <a:pt x="532" y="1119"/>
                    </a:lnTo>
                    <a:lnTo>
                      <a:pt x="526" y="1123"/>
                    </a:lnTo>
                    <a:lnTo>
                      <a:pt x="518" y="1126"/>
                    </a:lnTo>
                    <a:lnTo>
                      <a:pt x="509" y="1130"/>
                    </a:lnTo>
                    <a:lnTo>
                      <a:pt x="502" y="1136"/>
                    </a:lnTo>
                    <a:lnTo>
                      <a:pt x="493" y="1142"/>
                    </a:lnTo>
                    <a:lnTo>
                      <a:pt x="484" y="1150"/>
                    </a:lnTo>
                    <a:lnTo>
                      <a:pt x="475" y="1159"/>
                    </a:lnTo>
                    <a:lnTo>
                      <a:pt x="467" y="1169"/>
                    </a:lnTo>
                    <a:lnTo>
                      <a:pt x="458" y="1179"/>
                    </a:lnTo>
                    <a:lnTo>
                      <a:pt x="448" y="1193"/>
                    </a:lnTo>
                    <a:lnTo>
                      <a:pt x="438" y="1207"/>
                    </a:lnTo>
                    <a:lnTo>
                      <a:pt x="429" y="1222"/>
                    </a:lnTo>
                    <a:lnTo>
                      <a:pt x="420" y="1238"/>
                    </a:lnTo>
                    <a:lnTo>
                      <a:pt x="400" y="1220"/>
                    </a:lnTo>
                    <a:lnTo>
                      <a:pt x="377" y="1197"/>
                    </a:lnTo>
                    <a:lnTo>
                      <a:pt x="354" y="1174"/>
                    </a:lnTo>
                    <a:lnTo>
                      <a:pt x="336" y="1154"/>
                    </a:lnTo>
                    <a:lnTo>
                      <a:pt x="329" y="1134"/>
                    </a:lnTo>
                    <a:lnTo>
                      <a:pt x="322" y="1113"/>
                    </a:lnTo>
                    <a:lnTo>
                      <a:pt x="313" y="1094"/>
                    </a:lnTo>
                    <a:lnTo>
                      <a:pt x="303" y="1076"/>
                    </a:lnTo>
                    <a:lnTo>
                      <a:pt x="292" y="1058"/>
                    </a:lnTo>
                    <a:lnTo>
                      <a:pt x="281" y="1042"/>
                    </a:lnTo>
                    <a:lnTo>
                      <a:pt x="269" y="1026"/>
                    </a:lnTo>
                    <a:lnTo>
                      <a:pt x="256" y="1010"/>
                    </a:lnTo>
                    <a:lnTo>
                      <a:pt x="229" y="981"/>
                    </a:lnTo>
                    <a:lnTo>
                      <a:pt x="202" y="953"/>
                    </a:lnTo>
                    <a:lnTo>
                      <a:pt x="172" y="925"/>
                    </a:lnTo>
                    <a:lnTo>
                      <a:pt x="144" y="897"/>
                    </a:lnTo>
                    <a:lnTo>
                      <a:pt x="116" y="870"/>
                    </a:lnTo>
                    <a:lnTo>
                      <a:pt x="90" y="840"/>
                    </a:lnTo>
                    <a:lnTo>
                      <a:pt x="77" y="825"/>
                    </a:lnTo>
                    <a:lnTo>
                      <a:pt x="65" y="810"/>
                    </a:lnTo>
                    <a:lnTo>
                      <a:pt x="54" y="794"/>
                    </a:lnTo>
                    <a:lnTo>
                      <a:pt x="44" y="777"/>
                    </a:lnTo>
                    <a:lnTo>
                      <a:pt x="34" y="760"/>
                    </a:lnTo>
                    <a:lnTo>
                      <a:pt x="25" y="741"/>
                    </a:lnTo>
                    <a:lnTo>
                      <a:pt x="18" y="722"/>
                    </a:lnTo>
                    <a:lnTo>
                      <a:pt x="11" y="701"/>
                    </a:lnTo>
                    <a:lnTo>
                      <a:pt x="7" y="680"/>
                    </a:lnTo>
                    <a:lnTo>
                      <a:pt x="2" y="657"/>
                    </a:lnTo>
                    <a:lnTo>
                      <a:pt x="0" y="634"/>
                    </a:lnTo>
                    <a:lnTo>
                      <a:pt x="0" y="609"/>
                    </a:lnTo>
                    <a:lnTo>
                      <a:pt x="0" y="594"/>
                    </a:lnTo>
                    <a:lnTo>
                      <a:pt x="2" y="580"/>
                    </a:lnTo>
                    <a:lnTo>
                      <a:pt x="5" y="566"/>
                    </a:lnTo>
                    <a:lnTo>
                      <a:pt x="9" y="554"/>
                    </a:lnTo>
                    <a:lnTo>
                      <a:pt x="13" y="542"/>
                    </a:lnTo>
                    <a:lnTo>
                      <a:pt x="19" y="530"/>
                    </a:lnTo>
                    <a:lnTo>
                      <a:pt x="24" y="519"/>
                    </a:lnTo>
                    <a:lnTo>
                      <a:pt x="32" y="509"/>
                    </a:lnTo>
                    <a:lnTo>
                      <a:pt x="46" y="489"/>
                    </a:lnTo>
                    <a:lnTo>
                      <a:pt x="62" y="472"/>
                    </a:lnTo>
                    <a:lnTo>
                      <a:pt x="80" y="456"/>
                    </a:lnTo>
                    <a:lnTo>
                      <a:pt x="97" y="438"/>
                    </a:lnTo>
                    <a:lnTo>
                      <a:pt x="112" y="422"/>
                    </a:lnTo>
                    <a:lnTo>
                      <a:pt x="128" y="404"/>
                    </a:lnTo>
                    <a:lnTo>
                      <a:pt x="134" y="395"/>
                    </a:lnTo>
                    <a:lnTo>
                      <a:pt x="141" y="385"/>
                    </a:lnTo>
                    <a:lnTo>
                      <a:pt x="145" y="375"/>
                    </a:lnTo>
                    <a:lnTo>
                      <a:pt x="151" y="364"/>
                    </a:lnTo>
                    <a:lnTo>
                      <a:pt x="154" y="353"/>
                    </a:lnTo>
                    <a:lnTo>
                      <a:pt x="156" y="341"/>
                    </a:lnTo>
                    <a:lnTo>
                      <a:pt x="158" y="328"/>
                    </a:lnTo>
                    <a:lnTo>
                      <a:pt x="158" y="315"/>
                    </a:lnTo>
                    <a:lnTo>
                      <a:pt x="157" y="301"/>
                    </a:lnTo>
                    <a:lnTo>
                      <a:pt x="155" y="286"/>
                    </a:lnTo>
                    <a:lnTo>
                      <a:pt x="152" y="269"/>
                    </a:lnTo>
                    <a:lnTo>
                      <a:pt x="146" y="252"/>
                    </a:lnTo>
                    <a:lnTo>
                      <a:pt x="193" y="256"/>
                    </a:lnTo>
                    <a:lnTo>
                      <a:pt x="237" y="258"/>
                    </a:lnTo>
                    <a:lnTo>
                      <a:pt x="276" y="261"/>
                    </a:lnTo>
                    <a:lnTo>
                      <a:pt x="312" y="262"/>
                    </a:lnTo>
                    <a:lnTo>
                      <a:pt x="344" y="262"/>
                    </a:lnTo>
                    <a:lnTo>
                      <a:pt x="372" y="261"/>
                    </a:lnTo>
                    <a:lnTo>
                      <a:pt x="398" y="259"/>
                    </a:lnTo>
                    <a:lnTo>
                      <a:pt x="420" y="257"/>
                    </a:lnTo>
                    <a:lnTo>
                      <a:pt x="439" y="254"/>
                    </a:lnTo>
                    <a:lnTo>
                      <a:pt x="457" y="251"/>
                    </a:lnTo>
                    <a:lnTo>
                      <a:pt x="471" y="246"/>
                    </a:lnTo>
                    <a:lnTo>
                      <a:pt x="483" y="241"/>
                    </a:lnTo>
                    <a:lnTo>
                      <a:pt x="493" y="235"/>
                    </a:lnTo>
                    <a:lnTo>
                      <a:pt x="500" y="228"/>
                    </a:lnTo>
                    <a:lnTo>
                      <a:pt x="507" y="221"/>
                    </a:lnTo>
                    <a:lnTo>
                      <a:pt x="511" y="213"/>
                    </a:lnTo>
                    <a:lnTo>
                      <a:pt x="514" y="204"/>
                    </a:lnTo>
                    <a:lnTo>
                      <a:pt x="515" y="195"/>
                    </a:lnTo>
                    <a:lnTo>
                      <a:pt x="516" y="185"/>
                    </a:lnTo>
                    <a:lnTo>
                      <a:pt x="515" y="174"/>
                    </a:lnTo>
                    <a:lnTo>
                      <a:pt x="510" y="152"/>
                    </a:lnTo>
                    <a:lnTo>
                      <a:pt x="504" y="125"/>
                    </a:lnTo>
                    <a:lnTo>
                      <a:pt x="496" y="97"/>
                    </a:lnTo>
                    <a:lnTo>
                      <a:pt x="490" y="68"/>
                    </a:lnTo>
                    <a:lnTo>
                      <a:pt x="486" y="51"/>
                    </a:lnTo>
                    <a:lnTo>
                      <a:pt x="484" y="35"/>
                    </a:lnTo>
                    <a:lnTo>
                      <a:pt x="483" y="17"/>
                    </a:lnTo>
                    <a:lnTo>
                      <a:pt x="482" y="0"/>
                    </a:lnTo>
                    <a:lnTo>
                      <a:pt x="797" y="22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6" name="Freeform 254"/>
              <p:cNvSpPr>
                <a:spLocks/>
              </p:cNvSpPr>
              <p:nvPr/>
            </p:nvSpPr>
            <p:spPr bwMode="auto">
              <a:xfrm>
                <a:off x="2645" y="2460"/>
                <a:ext cx="212" cy="248"/>
              </a:xfrm>
              <a:custGeom>
                <a:avLst/>
                <a:gdLst/>
                <a:ahLst/>
                <a:cxnLst>
                  <a:cxn ang="0">
                    <a:pos x="773" y="75"/>
                  </a:cxn>
                  <a:cxn ang="0">
                    <a:pos x="765" y="133"/>
                  </a:cxn>
                  <a:cxn ang="0">
                    <a:pos x="779" y="172"/>
                  </a:cxn>
                  <a:cxn ang="0">
                    <a:pos x="820" y="201"/>
                  </a:cxn>
                  <a:cxn ang="0">
                    <a:pos x="886" y="200"/>
                  </a:cxn>
                  <a:cxn ang="0">
                    <a:pos x="956" y="183"/>
                  </a:cxn>
                  <a:cxn ang="0">
                    <a:pos x="993" y="193"/>
                  </a:cxn>
                  <a:cxn ang="0">
                    <a:pos x="1008" y="222"/>
                  </a:cxn>
                  <a:cxn ang="0">
                    <a:pos x="1024" y="262"/>
                  </a:cxn>
                  <a:cxn ang="0">
                    <a:pos x="1041" y="292"/>
                  </a:cxn>
                  <a:cxn ang="0">
                    <a:pos x="1033" y="330"/>
                  </a:cxn>
                  <a:cxn ang="0">
                    <a:pos x="980" y="406"/>
                  </a:cxn>
                  <a:cxn ang="0">
                    <a:pos x="966" y="462"/>
                  </a:cxn>
                  <a:cxn ang="0">
                    <a:pos x="1024" y="534"/>
                  </a:cxn>
                  <a:cxn ang="0">
                    <a:pos x="1054" y="612"/>
                  </a:cxn>
                  <a:cxn ang="0">
                    <a:pos x="1052" y="662"/>
                  </a:cxn>
                  <a:cxn ang="0">
                    <a:pos x="1040" y="755"/>
                  </a:cxn>
                  <a:cxn ang="0">
                    <a:pos x="1014" y="833"/>
                  </a:cxn>
                  <a:cxn ang="0">
                    <a:pos x="978" y="875"/>
                  </a:cxn>
                  <a:cxn ang="0">
                    <a:pos x="923" y="892"/>
                  </a:cxn>
                  <a:cxn ang="0">
                    <a:pos x="859" y="897"/>
                  </a:cxn>
                  <a:cxn ang="0">
                    <a:pos x="817" y="903"/>
                  </a:cxn>
                  <a:cxn ang="0">
                    <a:pos x="785" y="879"/>
                  </a:cxn>
                  <a:cxn ang="0">
                    <a:pos x="734" y="822"/>
                  </a:cxn>
                  <a:cxn ang="0">
                    <a:pos x="696" y="821"/>
                  </a:cxn>
                  <a:cxn ang="0">
                    <a:pos x="642" y="866"/>
                  </a:cxn>
                  <a:cxn ang="0">
                    <a:pos x="583" y="895"/>
                  </a:cxn>
                  <a:cxn ang="0">
                    <a:pos x="559" y="920"/>
                  </a:cxn>
                  <a:cxn ang="0">
                    <a:pos x="547" y="964"/>
                  </a:cxn>
                  <a:cxn ang="0">
                    <a:pos x="560" y="1033"/>
                  </a:cxn>
                  <a:cxn ang="0">
                    <a:pos x="608" y="1134"/>
                  </a:cxn>
                  <a:cxn ang="0">
                    <a:pos x="565" y="1115"/>
                  </a:cxn>
                  <a:cxn ang="0">
                    <a:pos x="526" y="1123"/>
                  </a:cxn>
                  <a:cxn ang="0">
                    <a:pos x="484" y="1150"/>
                  </a:cxn>
                  <a:cxn ang="0">
                    <a:pos x="438" y="1207"/>
                  </a:cxn>
                  <a:cxn ang="0">
                    <a:pos x="354" y="1174"/>
                  </a:cxn>
                  <a:cxn ang="0">
                    <a:pos x="303" y="1076"/>
                  </a:cxn>
                  <a:cxn ang="0">
                    <a:pos x="229" y="981"/>
                  </a:cxn>
                  <a:cxn ang="0">
                    <a:pos x="90" y="840"/>
                  </a:cxn>
                  <a:cxn ang="0">
                    <a:pos x="34" y="760"/>
                  </a:cxn>
                  <a:cxn ang="0">
                    <a:pos x="2" y="657"/>
                  </a:cxn>
                  <a:cxn ang="0">
                    <a:pos x="5" y="566"/>
                  </a:cxn>
                  <a:cxn ang="0">
                    <a:pos x="32" y="509"/>
                  </a:cxn>
                  <a:cxn ang="0">
                    <a:pos x="112" y="422"/>
                  </a:cxn>
                  <a:cxn ang="0">
                    <a:pos x="151" y="364"/>
                  </a:cxn>
                  <a:cxn ang="0">
                    <a:pos x="157" y="301"/>
                  </a:cxn>
                  <a:cxn ang="0">
                    <a:pos x="237" y="258"/>
                  </a:cxn>
                  <a:cxn ang="0">
                    <a:pos x="398" y="259"/>
                  </a:cxn>
                  <a:cxn ang="0">
                    <a:pos x="483" y="241"/>
                  </a:cxn>
                  <a:cxn ang="0">
                    <a:pos x="514" y="204"/>
                  </a:cxn>
                  <a:cxn ang="0">
                    <a:pos x="504" y="125"/>
                  </a:cxn>
                  <a:cxn ang="0">
                    <a:pos x="483" y="17"/>
                  </a:cxn>
                </a:cxnLst>
                <a:rect l="0" t="0" r="r" b="b"/>
                <a:pathLst>
                  <a:path w="1056" h="1238">
                    <a:moveTo>
                      <a:pt x="797" y="22"/>
                    </a:moveTo>
                    <a:lnTo>
                      <a:pt x="793" y="28"/>
                    </a:lnTo>
                    <a:lnTo>
                      <a:pt x="783" y="48"/>
                    </a:lnTo>
                    <a:lnTo>
                      <a:pt x="777" y="61"/>
                    </a:lnTo>
                    <a:lnTo>
                      <a:pt x="773" y="75"/>
                    </a:lnTo>
                    <a:lnTo>
                      <a:pt x="769" y="92"/>
                    </a:lnTo>
                    <a:lnTo>
                      <a:pt x="765" y="108"/>
                    </a:lnTo>
                    <a:lnTo>
                      <a:pt x="764" y="117"/>
                    </a:lnTo>
                    <a:lnTo>
                      <a:pt x="764" y="124"/>
                    </a:lnTo>
                    <a:lnTo>
                      <a:pt x="765" y="133"/>
                    </a:lnTo>
                    <a:lnTo>
                      <a:pt x="766" y="142"/>
                    </a:lnTo>
                    <a:lnTo>
                      <a:pt x="769" y="149"/>
                    </a:lnTo>
                    <a:lnTo>
                      <a:pt x="771" y="157"/>
                    </a:lnTo>
                    <a:lnTo>
                      <a:pt x="774" y="165"/>
                    </a:lnTo>
                    <a:lnTo>
                      <a:pt x="779" y="172"/>
                    </a:lnTo>
                    <a:lnTo>
                      <a:pt x="785" y="179"/>
                    </a:lnTo>
                    <a:lnTo>
                      <a:pt x="791" y="185"/>
                    </a:lnTo>
                    <a:lnTo>
                      <a:pt x="800" y="191"/>
                    </a:lnTo>
                    <a:lnTo>
                      <a:pt x="809" y="196"/>
                    </a:lnTo>
                    <a:lnTo>
                      <a:pt x="820" y="201"/>
                    </a:lnTo>
                    <a:lnTo>
                      <a:pt x="832" y="205"/>
                    </a:lnTo>
                    <a:lnTo>
                      <a:pt x="845" y="208"/>
                    </a:lnTo>
                    <a:lnTo>
                      <a:pt x="860" y="210"/>
                    </a:lnTo>
                    <a:lnTo>
                      <a:pt x="867" y="207"/>
                    </a:lnTo>
                    <a:lnTo>
                      <a:pt x="886" y="200"/>
                    </a:lnTo>
                    <a:lnTo>
                      <a:pt x="898" y="195"/>
                    </a:lnTo>
                    <a:lnTo>
                      <a:pt x="911" y="191"/>
                    </a:lnTo>
                    <a:lnTo>
                      <a:pt x="927" y="186"/>
                    </a:lnTo>
                    <a:lnTo>
                      <a:pt x="941" y="184"/>
                    </a:lnTo>
                    <a:lnTo>
                      <a:pt x="956" y="183"/>
                    </a:lnTo>
                    <a:lnTo>
                      <a:pt x="969" y="184"/>
                    </a:lnTo>
                    <a:lnTo>
                      <a:pt x="976" y="185"/>
                    </a:lnTo>
                    <a:lnTo>
                      <a:pt x="982" y="186"/>
                    </a:lnTo>
                    <a:lnTo>
                      <a:pt x="988" y="190"/>
                    </a:lnTo>
                    <a:lnTo>
                      <a:pt x="993" y="193"/>
                    </a:lnTo>
                    <a:lnTo>
                      <a:pt x="997" y="196"/>
                    </a:lnTo>
                    <a:lnTo>
                      <a:pt x="1001" y="202"/>
                    </a:lnTo>
                    <a:lnTo>
                      <a:pt x="1004" y="207"/>
                    </a:lnTo>
                    <a:lnTo>
                      <a:pt x="1006" y="215"/>
                    </a:lnTo>
                    <a:lnTo>
                      <a:pt x="1008" y="222"/>
                    </a:lnTo>
                    <a:lnTo>
                      <a:pt x="1008" y="231"/>
                    </a:lnTo>
                    <a:lnTo>
                      <a:pt x="1008" y="241"/>
                    </a:lnTo>
                    <a:lnTo>
                      <a:pt x="1007" y="252"/>
                    </a:lnTo>
                    <a:lnTo>
                      <a:pt x="1016" y="256"/>
                    </a:lnTo>
                    <a:lnTo>
                      <a:pt x="1024" y="262"/>
                    </a:lnTo>
                    <a:lnTo>
                      <a:pt x="1029" y="267"/>
                    </a:lnTo>
                    <a:lnTo>
                      <a:pt x="1034" y="273"/>
                    </a:lnTo>
                    <a:lnTo>
                      <a:pt x="1038" y="279"/>
                    </a:lnTo>
                    <a:lnTo>
                      <a:pt x="1040" y="286"/>
                    </a:lnTo>
                    <a:lnTo>
                      <a:pt x="1041" y="292"/>
                    </a:lnTo>
                    <a:lnTo>
                      <a:pt x="1041" y="300"/>
                    </a:lnTo>
                    <a:lnTo>
                      <a:pt x="1040" y="307"/>
                    </a:lnTo>
                    <a:lnTo>
                      <a:pt x="1039" y="315"/>
                    </a:lnTo>
                    <a:lnTo>
                      <a:pt x="1036" y="323"/>
                    </a:lnTo>
                    <a:lnTo>
                      <a:pt x="1033" y="330"/>
                    </a:lnTo>
                    <a:lnTo>
                      <a:pt x="1025" y="347"/>
                    </a:lnTo>
                    <a:lnTo>
                      <a:pt x="1015" y="362"/>
                    </a:lnTo>
                    <a:lnTo>
                      <a:pt x="1003" y="378"/>
                    </a:lnTo>
                    <a:lnTo>
                      <a:pt x="991" y="392"/>
                    </a:lnTo>
                    <a:lnTo>
                      <a:pt x="980" y="406"/>
                    </a:lnTo>
                    <a:lnTo>
                      <a:pt x="968" y="418"/>
                    </a:lnTo>
                    <a:lnTo>
                      <a:pt x="951" y="435"/>
                    </a:lnTo>
                    <a:lnTo>
                      <a:pt x="944" y="442"/>
                    </a:lnTo>
                    <a:lnTo>
                      <a:pt x="949" y="447"/>
                    </a:lnTo>
                    <a:lnTo>
                      <a:pt x="966" y="462"/>
                    </a:lnTo>
                    <a:lnTo>
                      <a:pt x="977" y="473"/>
                    </a:lnTo>
                    <a:lnTo>
                      <a:pt x="988" y="486"/>
                    </a:lnTo>
                    <a:lnTo>
                      <a:pt x="1000" y="501"/>
                    </a:lnTo>
                    <a:lnTo>
                      <a:pt x="1012" y="517"/>
                    </a:lnTo>
                    <a:lnTo>
                      <a:pt x="1024" y="534"/>
                    </a:lnTo>
                    <a:lnTo>
                      <a:pt x="1033" y="553"/>
                    </a:lnTo>
                    <a:lnTo>
                      <a:pt x="1043" y="572"/>
                    </a:lnTo>
                    <a:lnTo>
                      <a:pt x="1050" y="592"/>
                    </a:lnTo>
                    <a:lnTo>
                      <a:pt x="1053" y="602"/>
                    </a:lnTo>
                    <a:lnTo>
                      <a:pt x="1054" y="612"/>
                    </a:lnTo>
                    <a:lnTo>
                      <a:pt x="1056" y="621"/>
                    </a:lnTo>
                    <a:lnTo>
                      <a:pt x="1056" y="632"/>
                    </a:lnTo>
                    <a:lnTo>
                      <a:pt x="1056" y="642"/>
                    </a:lnTo>
                    <a:lnTo>
                      <a:pt x="1054" y="652"/>
                    </a:lnTo>
                    <a:lnTo>
                      <a:pt x="1052" y="662"/>
                    </a:lnTo>
                    <a:lnTo>
                      <a:pt x="1049" y="671"/>
                    </a:lnTo>
                    <a:lnTo>
                      <a:pt x="1049" y="683"/>
                    </a:lnTo>
                    <a:lnTo>
                      <a:pt x="1046" y="714"/>
                    </a:lnTo>
                    <a:lnTo>
                      <a:pt x="1043" y="734"/>
                    </a:lnTo>
                    <a:lnTo>
                      <a:pt x="1040" y="755"/>
                    </a:lnTo>
                    <a:lnTo>
                      <a:pt x="1034" y="777"/>
                    </a:lnTo>
                    <a:lnTo>
                      <a:pt x="1028" y="800"/>
                    </a:lnTo>
                    <a:lnTo>
                      <a:pt x="1024" y="812"/>
                    </a:lnTo>
                    <a:lnTo>
                      <a:pt x="1019" y="823"/>
                    </a:lnTo>
                    <a:lnTo>
                      <a:pt x="1014" y="833"/>
                    </a:lnTo>
                    <a:lnTo>
                      <a:pt x="1007" y="843"/>
                    </a:lnTo>
                    <a:lnTo>
                      <a:pt x="1001" y="852"/>
                    </a:lnTo>
                    <a:lnTo>
                      <a:pt x="994" y="861"/>
                    </a:lnTo>
                    <a:lnTo>
                      <a:pt x="987" y="869"/>
                    </a:lnTo>
                    <a:lnTo>
                      <a:pt x="978" y="875"/>
                    </a:lnTo>
                    <a:lnTo>
                      <a:pt x="969" y="882"/>
                    </a:lnTo>
                    <a:lnTo>
                      <a:pt x="958" y="886"/>
                    </a:lnTo>
                    <a:lnTo>
                      <a:pt x="947" y="889"/>
                    </a:lnTo>
                    <a:lnTo>
                      <a:pt x="936" y="891"/>
                    </a:lnTo>
                    <a:lnTo>
                      <a:pt x="923" y="892"/>
                    </a:lnTo>
                    <a:lnTo>
                      <a:pt x="910" y="889"/>
                    </a:lnTo>
                    <a:lnTo>
                      <a:pt x="896" y="886"/>
                    </a:lnTo>
                    <a:lnTo>
                      <a:pt x="881" y="882"/>
                    </a:lnTo>
                    <a:lnTo>
                      <a:pt x="870" y="891"/>
                    </a:lnTo>
                    <a:lnTo>
                      <a:pt x="859" y="897"/>
                    </a:lnTo>
                    <a:lnTo>
                      <a:pt x="849" y="901"/>
                    </a:lnTo>
                    <a:lnTo>
                      <a:pt x="839" y="904"/>
                    </a:lnTo>
                    <a:lnTo>
                      <a:pt x="832" y="905"/>
                    </a:lnTo>
                    <a:lnTo>
                      <a:pt x="823" y="905"/>
                    </a:lnTo>
                    <a:lnTo>
                      <a:pt x="817" y="903"/>
                    </a:lnTo>
                    <a:lnTo>
                      <a:pt x="809" y="899"/>
                    </a:lnTo>
                    <a:lnTo>
                      <a:pt x="802" y="895"/>
                    </a:lnTo>
                    <a:lnTo>
                      <a:pt x="796" y="891"/>
                    </a:lnTo>
                    <a:lnTo>
                      <a:pt x="790" y="884"/>
                    </a:lnTo>
                    <a:lnTo>
                      <a:pt x="785" y="879"/>
                    </a:lnTo>
                    <a:lnTo>
                      <a:pt x="774" y="864"/>
                    </a:lnTo>
                    <a:lnTo>
                      <a:pt x="763" y="850"/>
                    </a:lnTo>
                    <a:lnTo>
                      <a:pt x="752" y="837"/>
                    </a:lnTo>
                    <a:lnTo>
                      <a:pt x="740" y="826"/>
                    </a:lnTo>
                    <a:lnTo>
                      <a:pt x="734" y="822"/>
                    </a:lnTo>
                    <a:lnTo>
                      <a:pt x="727" y="820"/>
                    </a:lnTo>
                    <a:lnTo>
                      <a:pt x="721" y="818"/>
                    </a:lnTo>
                    <a:lnTo>
                      <a:pt x="713" y="816"/>
                    </a:lnTo>
                    <a:lnTo>
                      <a:pt x="704" y="818"/>
                    </a:lnTo>
                    <a:lnTo>
                      <a:pt x="696" y="821"/>
                    </a:lnTo>
                    <a:lnTo>
                      <a:pt x="687" y="825"/>
                    </a:lnTo>
                    <a:lnTo>
                      <a:pt x="677" y="832"/>
                    </a:lnTo>
                    <a:lnTo>
                      <a:pt x="666" y="840"/>
                    </a:lnTo>
                    <a:lnTo>
                      <a:pt x="655" y="851"/>
                    </a:lnTo>
                    <a:lnTo>
                      <a:pt x="642" y="866"/>
                    </a:lnTo>
                    <a:lnTo>
                      <a:pt x="629" y="882"/>
                    </a:lnTo>
                    <a:lnTo>
                      <a:pt x="623" y="882"/>
                    </a:lnTo>
                    <a:lnTo>
                      <a:pt x="605" y="886"/>
                    </a:lnTo>
                    <a:lnTo>
                      <a:pt x="594" y="889"/>
                    </a:lnTo>
                    <a:lnTo>
                      <a:pt x="583" y="895"/>
                    </a:lnTo>
                    <a:lnTo>
                      <a:pt x="578" y="898"/>
                    </a:lnTo>
                    <a:lnTo>
                      <a:pt x="573" y="903"/>
                    </a:lnTo>
                    <a:lnTo>
                      <a:pt x="568" y="908"/>
                    </a:lnTo>
                    <a:lnTo>
                      <a:pt x="564" y="913"/>
                    </a:lnTo>
                    <a:lnTo>
                      <a:pt x="559" y="920"/>
                    </a:lnTo>
                    <a:lnTo>
                      <a:pt x="556" y="927"/>
                    </a:lnTo>
                    <a:lnTo>
                      <a:pt x="553" y="934"/>
                    </a:lnTo>
                    <a:lnTo>
                      <a:pt x="551" y="943"/>
                    </a:lnTo>
                    <a:lnTo>
                      <a:pt x="548" y="953"/>
                    </a:lnTo>
                    <a:lnTo>
                      <a:pt x="547" y="964"/>
                    </a:lnTo>
                    <a:lnTo>
                      <a:pt x="548" y="976"/>
                    </a:lnTo>
                    <a:lnTo>
                      <a:pt x="549" y="988"/>
                    </a:lnTo>
                    <a:lnTo>
                      <a:pt x="552" y="1002"/>
                    </a:lnTo>
                    <a:lnTo>
                      <a:pt x="555" y="1017"/>
                    </a:lnTo>
                    <a:lnTo>
                      <a:pt x="560" y="1033"/>
                    </a:lnTo>
                    <a:lnTo>
                      <a:pt x="567" y="1051"/>
                    </a:lnTo>
                    <a:lnTo>
                      <a:pt x="575" y="1069"/>
                    </a:lnTo>
                    <a:lnTo>
                      <a:pt x="584" y="1089"/>
                    </a:lnTo>
                    <a:lnTo>
                      <a:pt x="595" y="1111"/>
                    </a:lnTo>
                    <a:lnTo>
                      <a:pt x="608" y="1134"/>
                    </a:lnTo>
                    <a:lnTo>
                      <a:pt x="604" y="1130"/>
                    </a:lnTo>
                    <a:lnTo>
                      <a:pt x="593" y="1124"/>
                    </a:lnTo>
                    <a:lnTo>
                      <a:pt x="585" y="1119"/>
                    </a:lnTo>
                    <a:lnTo>
                      <a:pt x="576" y="1117"/>
                    </a:lnTo>
                    <a:lnTo>
                      <a:pt x="565" y="1115"/>
                    </a:lnTo>
                    <a:lnTo>
                      <a:pt x="553" y="1115"/>
                    </a:lnTo>
                    <a:lnTo>
                      <a:pt x="546" y="1116"/>
                    </a:lnTo>
                    <a:lnTo>
                      <a:pt x="540" y="1117"/>
                    </a:lnTo>
                    <a:lnTo>
                      <a:pt x="532" y="1119"/>
                    </a:lnTo>
                    <a:lnTo>
                      <a:pt x="526" y="1123"/>
                    </a:lnTo>
                    <a:lnTo>
                      <a:pt x="518" y="1126"/>
                    </a:lnTo>
                    <a:lnTo>
                      <a:pt x="509" y="1130"/>
                    </a:lnTo>
                    <a:lnTo>
                      <a:pt x="502" y="1136"/>
                    </a:lnTo>
                    <a:lnTo>
                      <a:pt x="493" y="1142"/>
                    </a:lnTo>
                    <a:lnTo>
                      <a:pt x="484" y="1150"/>
                    </a:lnTo>
                    <a:lnTo>
                      <a:pt x="475" y="1159"/>
                    </a:lnTo>
                    <a:lnTo>
                      <a:pt x="467" y="1169"/>
                    </a:lnTo>
                    <a:lnTo>
                      <a:pt x="458" y="1179"/>
                    </a:lnTo>
                    <a:lnTo>
                      <a:pt x="448" y="1193"/>
                    </a:lnTo>
                    <a:lnTo>
                      <a:pt x="438" y="1207"/>
                    </a:lnTo>
                    <a:lnTo>
                      <a:pt x="429" y="1222"/>
                    </a:lnTo>
                    <a:lnTo>
                      <a:pt x="420" y="1238"/>
                    </a:lnTo>
                    <a:lnTo>
                      <a:pt x="400" y="1220"/>
                    </a:lnTo>
                    <a:lnTo>
                      <a:pt x="377" y="1197"/>
                    </a:lnTo>
                    <a:lnTo>
                      <a:pt x="354" y="1174"/>
                    </a:lnTo>
                    <a:lnTo>
                      <a:pt x="336" y="1154"/>
                    </a:lnTo>
                    <a:lnTo>
                      <a:pt x="329" y="1134"/>
                    </a:lnTo>
                    <a:lnTo>
                      <a:pt x="322" y="1113"/>
                    </a:lnTo>
                    <a:lnTo>
                      <a:pt x="313" y="1094"/>
                    </a:lnTo>
                    <a:lnTo>
                      <a:pt x="303" y="1076"/>
                    </a:lnTo>
                    <a:lnTo>
                      <a:pt x="292" y="1058"/>
                    </a:lnTo>
                    <a:lnTo>
                      <a:pt x="281" y="1042"/>
                    </a:lnTo>
                    <a:lnTo>
                      <a:pt x="269" y="1026"/>
                    </a:lnTo>
                    <a:lnTo>
                      <a:pt x="256" y="1010"/>
                    </a:lnTo>
                    <a:lnTo>
                      <a:pt x="229" y="981"/>
                    </a:lnTo>
                    <a:lnTo>
                      <a:pt x="202" y="953"/>
                    </a:lnTo>
                    <a:lnTo>
                      <a:pt x="172" y="925"/>
                    </a:lnTo>
                    <a:lnTo>
                      <a:pt x="144" y="897"/>
                    </a:lnTo>
                    <a:lnTo>
                      <a:pt x="116" y="870"/>
                    </a:lnTo>
                    <a:lnTo>
                      <a:pt x="90" y="840"/>
                    </a:lnTo>
                    <a:lnTo>
                      <a:pt x="77" y="825"/>
                    </a:lnTo>
                    <a:lnTo>
                      <a:pt x="65" y="810"/>
                    </a:lnTo>
                    <a:lnTo>
                      <a:pt x="54" y="794"/>
                    </a:lnTo>
                    <a:lnTo>
                      <a:pt x="44" y="777"/>
                    </a:lnTo>
                    <a:lnTo>
                      <a:pt x="34" y="760"/>
                    </a:lnTo>
                    <a:lnTo>
                      <a:pt x="25" y="741"/>
                    </a:lnTo>
                    <a:lnTo>
                      <a:pt x="18" y="722"/>
                    </a:lnTo>
                    <a:lnTo>
                      <a:pt x="11" y="701"/>
                    </a:lnTo>
                    <a:lnTo>
                      <a:pt x="7" y="680"/>
                    </a:lnTo>
                    <a:lnTo>
                      <a:pt x="2" y="657"/>
                    </a:lnTo>
                    <a:lnTo>
                      <a:pt x="0" y="634"/>
                    </a:lnTo>
                    <a:lnTo>
                      <a:pt x="0" y="609"/>
                    </a:lnTo>
                    <a:lnTo>
                      <a:pt x="0" y="594"/>
                    </a:lnTo>
                    <a:lnTo>
                      <a:pt x="2" y="580"/>
                    </a:lnTo>
                    <a:lnTo>
                      <a:pt x="5" y="566"/>
                    </a:lnTo>
                    <a:lnTo>
                      <a:pt x="9" y="554"/>
                    </a:lnTo>
                    <a:lnTo>
                      <a:pt x="13" y="542"/>
                    </a:lnTo>
                    <a:lnTo>
                      <a:pt x="19" y="530"/>
                    </a:lnTo>
                    <a:lnTo>
                      <a:pt x="24" y="519"/>
                    </a:lnTo>
                    <a:lnTo>
                      <a:pt x="32" y="509"/>
                    </a:lnTo>
                    <a:lnTo>
                      <a:pt x="46" y="489"/>
                    </a:lnTo>
                    <a:lnTo>
                      <a:pt x="62" y="472"/>
                    </a:lnTo>
                    <a:lnTo>
                      <a:pt x="80" y="456"/>
                    </a:lnTo>
                    <a:lnTo>
                      <a:pt x="97" y="438"/>
                    </a:lnTo>
                    <a:lnTo>
                      <a:pt x="112" y="422"/>
                    </a:lnTo>
                    <a:lnTo>
                      <a:pt x="128" y="404"/>
                    </a:lnTo>
                    <a:lnTo>
                      <a:pt x="134" y="395"/>
                    </a:lnTo>
                    <a:lnTo>
                      <a:pt x="141" y="385"/>
                    </a:lnTo>
                    <a:lnTo>
                      <a:pt x="145" y="375"/>
                    </a:lnTo>
                    <a:lnTo>
                      <a:pt x="151" y="364"/>
                    </a:lnTo>
                    <a:lnTo>
                      <a:pt x="154" y="353"/>
                    </a:lnTo>
                    <a:lnTo>
                      <a:pt x="156" y="341"/>
                    </a:lnTo>
                    <a:lnTo>
                      <a:pt x="158" y="328"/>
                    </a:lnTo>
                    <a:lnTo>
                      <a:pt x="158" y="315"/>
                    </a:lnTo>
                    <a:lnTo>
                      <a:pt x="157" y="301"/>
                    </a:lnTo>
                    <a:lnTo>
                      <a:pt x="155" y="286"/>
                    </a:lnTo>
                    <a:lnTo>
                      <a:pt x="152" y="269"/>
                    </a:lnTo>
                    <a:lnTo>
                      <a:pt x="146" y="252"/>
                    </a:lnTo>
                    <a:lnTo>
                      <a:pt x="193" y="256"/>
                    </a:lnTo>
                    <a:lnTo>
                      <a:pt x="237" y="258"/>
                    </a:lnTo>
                    <a:lnTo>
                      <a:pt x="276" y="261"/>
                    </a:lnTo>
                    <a:lnTo>
                      <a:pt x="312" y="262"/>
                    </a:lnTo>
                    <a:lnTo>
                      <a:pt x="344" y="262"/>
                    </a:lnTo>
                    <a:lnTo>
                      <a:pt x="372" y="261"/>
                    </a:lnTo>
                    <a:lnTo>
                      <a:pt x="398" y="259"/>
                    </a:lnTo>
                    <a:lnTo>
                      <a:pt x="420" y="257"/>
                    </a:lnTo>
                    <a:lnTo>
                      <a:pt x="439" y="254"/>
                    </a:lnTo>
                    <a:lnTo>
                      <a:pt x="457" y="251"/>
                    </a:lnTo>
                    <a:lnTo>
                      <a:pt x="471" y="246"/>
                    </a:lnTo>
                    <a:lnTo>
                      <a:pt x="483" y="241"/>
                    </a:lnTo>
                    <a:lnTo>
                      <a:pt x="493" y="235"/>
                    </a:lnTo>
                    <a:lnTo>
                      <a:pt x="500" y="228"/>
                    </a:lnTo>
                    <a:lnTo>
                      <a:pt x="507" y="221"/>
                    </a:lnTo>
                    <a:lnTo>
                      <a:pt x="511" y="213"/>
                    </a:lnTo>
                    <a:lnTo>
                      <a:pt x="514" y="204"/>
                    </a:lnTo>
                    <a:lnTo>
                      <a:pt x="515" y="195"/>
                    </a:lnTo>
                    <a:lnTo>
                      <a:pt x="516" y="185"/>
                    </a:lnTo>
                    <a:lnTo>
                      <a:pt x="515" y="174"/>
                    </a:lnTo>
                    <a:lnTo>
                      <a:pt x="510" y="152"/>
                    </a:lnTo>
                    <a:lnTo>
                      <a:pt x="504" y="125"/>
                    </a:lnTo>
                    <a:lnTo>
                      <a:pt x="496" y="97"/>
                    </a:lnTo>
                    <a:lnTo>
                      <a:pt x="490" y="68"/>
                    </a:lnTo>
                    <a:lnTo>
                      <a:pt x="486" y="51"/>
                    </a:lnTo>
                    <a:lnTo>
                      <a:pt x="484" y="35"/>
                    </a:lnTo>
                    <a:lnTo>
                      <a:pt x="483" y="17"/>
                    </a:lnTo>
                    <a:lnTo>
                      <a:pt x="482" y="0"/>
                    </a:lnTo>
                    <a:lnTo>
                      <a:pt x="797" y="22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7" name="Freeform 255"/>
              <p:cNvSpPr>
                <a:spLocks/>
              </p:cNvSpPr>
              <p:nvPr/>
            </p:nvSpPr>
            <p:spPr bwMode="auto">
              <a:xfrm>
                <a:off x="2817" y="1634"/>
                <a:ext cx="353" cy="621"/>
              </a:xfrm>
              <a:custGeom>
                <a:avLst/>
                <a:gdLst/>
                <a:ahLst/>
                <a:cxnLst>
                  <a:cxn ang="0">
                    <a:pos x="276" y="412"/>
                  </a:cxn>
                  <a:cxn ang="0">
                    <a:pos x="324" y="511"/>
                  </a:cxn>
                  <a:cxn ang="0">
                    <a:pos x="342" y="584"/>
                  </a:cxn>
                  <a:cxn ang="0">
                    <a:pos x="338" y="659"/>
                  </a:cxn>
                  <a:cxn ang="0">
                    <a:pos x="316" y="754"/>
                  </a:cxn>
                  <a:cxn ang="0">
                    <a:pos x="317" y="1116"/>
                  </a:cxn>
                  <a:cxn ang="0">
                    <a:pos x="306" y="1214"/>
                  </a:cxn>
                  <a:cxn ang="0">
                    <a:pos x="279" y="1302"/>
                  </a:cxn>
                  <a:cxn ang="0">
                    <a:pos x="228" y="1391"/>
                  </a:cxn>
                  <a:cxn ang="0">
                    <a:pos x="147" y="1490"/>
                  </a:cxn>
                  <a:cxn ang="0">
                    <a:pos x="97" y="1557"/>
                  </a:cxn>
                  <a:cxn ang="0">
                    <a:pos x="56" y="1672"/>
                  </a:cxn>
                  <a:cxn ang="0">
                    <a:pos x="19" y="1873"/>
                  </a:cxn>
                  <a:cxn ang="0">
                    <a:pos x="0" y="1909"/>
                  </a:cxn>
                  <a:cxn ang="0">
                    <a:pos x="69" y="1993"/>
                  </a:cxn>
                  <a:cxn ang="0">
                    <a:pos x="84" y="2035"/>
                  </a:cxn>
                  <a:cxn ang="0">
                    <a:pos x="161" y="2064"/>
                  </a:cxn>
                  <a:cxn ang="0">
                    <a:pos x="252" y="2077"/>
                  </a:cxn>
                  <a:cxn ang="0">
                    <a:pos x="242" y="2110"/>
                  </a:cxn>
                  <a:cxn ang="0">
                    <a:pos x="252" y="2203"/>
                  </a:cxn>
                  <a:cxn ang="0">
                    <a:pos x="263" y="2362"/>
                  </a:cxn>
                  <a:cxn ang="0">
                    <a:pos x="295" y="2501"/>
                  </a:cxn>
                  <a:cxn ang="0">
                    <a:pos x="339" y="2586"/>
                  </a:cxn>
                  <a:cxn ang="0">
                    <a:pos x="303" y="2596"/>
                  </a:cxn>
                  <a:cxn ang="0">
                    <a:pos x="171" y="2597"/>
                  </a:cxn>
                  <a:cxn ang="0">
                    <a:pos x="134" y="2618"/>
                  </a:cxn>
                  <a:cxn ang="0">
                    <a:pos x="127" y="2663"/>
                  </a:cxn>
                  <a:cxn ang="0">
                    <a:pos x="145" y="2742"/>
                  </a:cxn>
                  <a:cxn ang="0">
                    <a:pos x="183" y="2804"/>
                  </a:cxn>
                  <a:cxn ang="0">
                    <a:pos x="269" y="2904"/>
                  </a:cxn>
                  <a:cxn ang="0">
                    <a:pos x="310" y="2971"/>
                  </a:cxn>
                  <a:cxn ang="0">
                    <a:pos x="334" y="3060"/>
                  </a:cxn>
                  <a:cxn ang="0">
                    <a:pos x="514" y="3091"/>
                  </a:cxn>
                  <a:cxn ang="0">
                    <a:pos x="689" y="3052"/>
                  </a:cxn>
                  <a:cxn ang="0">
                    <a:pos x="813" y="3022"/>
                  </a:cxn>
                  <a:cxn ang="0">
                    <a:pos x="870" y="2987"/>
                  </a:cxn>
                  <a:cxn ang="0">
                    <a:pos x="899" y="2928"/>
                  </a:cxn>
                  <a:cxn ang="0">
                    <a:pos x="902" y="2848"/>
                  </a:cxn>
                  <a:cxn ang="0">
                    <a:pos x="1050" y="2840"/>
                  </a:cxn>
                  <a:cxn ang="0">
                    <a:pos x="1175" y="2797"/>
                  </a:cxn>
                  <a:cxn ang="0">
                    <a:pos x="1258" y="2714"/>
                  </a:cxn>
                  <a:cxn ang="0">
                    <a:pos x="1348" y="2578"/>
                  </a:cxn>
                  <a:cxn ang="0">
                    <a:pos x="1427" y="2497"/>
                  </a:cxn>
                  <a:cxn ang="0">
                    <a:pos x="1543" y="2457"/>
                  </a:cxn>
                  <a:cxn ang="0">
                    <a:pos x="1536" y="2352"/>
                  </a:cxn>
                  <a:cxn ang="0">
                    <a:pos x="1482" y="2174"/>
                  </a:cxn>
                  <a:cxn ang="0">
                    <a:pos x="1446" y="2100"/>
                  </a:cxn>
                  <a:cxn ang="0">
                    <a:pos x="1406" y="2057"/>
                  </a:cxn>
                  <a:cxn ang="0">
                    <a:pos x="1458" y="1976"/>
                  </a:cxn>
                  <a:cxn ang="0">
                    <a:pos x="1479" y="1850"/>
                  </a:cxn>
                  <a:cxn ang="0">
                    <a:pos x="1504" y="1723"/>
                  </a:cxn>
                  <a:cxn ang="0">
                    <a:pos x="1538" y="1664"/>
                  </a:cxn>
                  <a:cxn ang="0">
                    <a:pos x="1629" y="1570"/>
                  </a:cxn>
                  <a:cxn ang="0">
                    <a:pos x="1762" y="1490"/>
                  </a:cxn>
                  <a:cxn ang="0">
                    <a:pos x="363" y="6"/>
                  </a:cxn>
                  <a:cxn ang="0">
                    <a:pos x="293" y="20"/>
                  </a:cxn>
                  <a:cxn ang="0">
                    <a:pos x="247" y="78"/>
                  </a:cxn>
                </a:cxnLst>
                <a:rect l="0" t="0" r="r" b="b"/>
                <a:pathLst>
                  <a:path w="1762" h="3105">
                    <a:moveTo>
                      <a:pt x="252" y="84"/>
                    </a:moveTo>
                    <a:lnTo>
                      <a:pt x="231" y="335"/>
                    </a:lnTo>
                    <a:lnTo>
                      <a:pt x="247" y="363"/>
                    </a:lnTo>
                    <a:lnTo>
                      <a:pt x="263" y="388"/>
                    </a:lnTo>
                    <a:lnTo>
                      <a:pt x="276" y="412"/>
                    </a:lnTo>
                    <a:lnTo>
                      <a:pt x="289" y="434"/>
                    </a:lnTo>
                    <a:lnTo>
                      <a:pt x="299" y="454"/>
                    </a:lnTo>
                    <a:lnTo>
                      <a:pt x="309" y="475"/>
                    </a:lnTo>
                    <a:lnTo>
                      <a:pt x="316" y="494"/>
                    </a:lnTo>
                    <a:lnTo>
                      <a:pt x="324" y="511"/>
                    </a:lnTo>
                    <a:lnTo>
                      <a:pt x="329" y="527"/>
                    </a:lnTo>
                    <a:lnTo>
                      <a:pt x="334" y="543"/>
                    </a:lnTo>
                    <a:lnTo>
                      <a:pt x="337" y="557"/>
                    </a:lnTo>
                    <a:lnTo>
                      <a:pt x="340" y="571"/>
                    </a:lnTo>
                    <a:lnTo>
                      <a:pt x="342" y="584"/>
                    </a:lnTo>
                    <a:lnTo>
                      <a:pt x="343" y="596"/>
                    </a:lnTo>
                    <a:lnTo>
                      <a:pt x="343" y="608"/>
                    </a:lnTo>
                    <a:lnTo>
                      <a:pt x="343" y="619"/>
                    </a:lnTo>
                    <a:lnTo>
                      <a:pt x="341" y="640"/>
                    </a:lnTo>
                    <a:lnTo>
                      <a:pt x="338" y="659"/>
                    </a:lnTo>
                    <a:lnTo>
                      <a:pt x="334" y="678"/>
                    </a:lnTo>
                    <a:lnTo>
                      <a:pt x="328" y="695"/>
                    </a:lnTo>
                    <a:lnTo>
                      <a:pt x="323" y="714"/>
                    </a:lnTo>
                    <a:lnTo>
                      <a:pt x="318" y="733"/>
                    </a:lnTo>
                    <a:lnTo>
                      <a:pt x="316" y="754"/>
                    </a:lnTo>
                    <a:lnTo>
                      <a:pt x="315" y="776"/>
                    </a:lnTo>
                    <a:lnTo>
                      <a:pt x="316" y="912"/>
                    </a:lnTo>
                    <a:lnTo>
                      <a:pt x="318" y="1023"/>
                    </a:lnTo>
                    <a:lnTo>
                      <a:pt x="318" y="1072"/>
                    </a:lnTo>
                    <a:lnTo>
                      <a:pt x="317" y="1116"/>
                    </a:lnTo>
                    <a:lnTo>
                      <a:pt x="316" y="1137"/>
                    </a:lnTo>
                    <a:lnTo>
                      <a:pt x="314" y="1157"/>
                    </a:lnTo>
                    <a:lnTo>
                      <a:pt x="312" y="1177"/>
                    </a:lnTo>
                    <a:lnTo>
                      <a:pt x="310" y="1196"/>
                    </a:lnTo>
                    <a:lnTo>
                      <a:pt x="306" y="1214"/>
                    </a:lnTo>
                    <a:lnTo>
                      <a:pt x="302" y="1233"/>
                    </a:lnTo>
                    <a:lnTo>
                      <a:pt x="298" y="1250"/>
                    </a:lnTo>
                    <a:lnTo>
                      <a:pt x="292" y="1267"/>
                    </a:lnTo>
                    <a:lnTo>
                      <a:pt x="286" y="1285"/>
                    </a:lnTo>
                    <a:lnTo>
                      <a:pt x="279" y="1302"/>
                    </a:lnTo>
                    <a:lnTo>
                      <a:pt x="270" y="1320"/>
                    </a:lnTo>
                    <a:lnTo>
                      <a:pt x="262" y="1337"/>
                    </a:lnTo>
                    <a:lnTo>
                      <a:pt x="251" y="1355"/>
                    </a:lnTo>
                    <a:lnTo>
                      <a:pt x="240" y="1372"/>
                    </a:lnTo>
                    <a:lnTo>
                      <a:pt x="228" y="1391"/>
                    </a:lnTo>
                    <a:lnTo>
                      <a:pt x="214" y="1409"/>
                    </a:lnTo>
                    <a:lnTo>
                      <a:pt x="200" y="1428"/>
                    </a:lnTo>
                    <a:lnTo>
                      <a:pt x="183" y="1448"/>
                    </a:lnTo>
                    <a:lnTo>
                      <a:pt x="166" y="1468"/>
                    </a:lnTo>
                    <a:lnTo>
                      <a:pt x="147" y="1490"/>
                    </a:lnTo>
                    <a:lnTo>
                      <a:pt x="135" y="1502"/>
                    </a:lnTo>
                    <a:lnTo>
                      <a:pt x="124" y="1515"/>
                    </a:lnTo>
                    <a:lnTo>
                      <a:pt x="115" y="1529"/>
                    </a:lnTo>
                    <a:lnTo>
                      <a:pt x="106" y="1543"/>
                    </a:lnTo>
                    <a:lnTo>
                      <a:pt x="97" y="1557"/>
                    </a:lnTo>
                    <a:lnTo>
                      <a:pt x="89" y="1574"/>
                    </a:lnTo>
                    <a:lnTo>
                      <a:pt x="83" y="1589"/>
                    </a:lnTo>
                    <a:lnTo>
                      <a:pt x="76" y="1605"/>
                    </a:lnTo>
                    <a:lnTo>
                      <a:pt x="65" y="1638"/>
                    </a:lnTo>
                    <a:lnTo>
                      <a:pt x="56" y="1672"/>
                    </a:lnTo>
                    <a:lnTo>
                      <a:pt x="48" y="1706"/>
                    </a:lnTo>
                    <a:lnTo>
                      <a:pt x="42" y="1738"/>
                    </a:lnTo>
                    <a:lnTo>
                      <a:pt x="32" y="1800"/>
                    </a:lnTo>
                    <a:lnTo>
                      <a:pt x="23" y="1853"/>
                    </a:lnTo>
                    <a:lnTo>
                      <a:pt x="19" y="1873"/>
                    </a:lnTo>
                    <a:lnTo>
                      <a:pt x="13" y="1890"/>
                    </a:lnTo>
                    <a:lnTo>
                      <a:pt x="10" y="1897"/>
                    </a:lnTo>
                    <a:lnTo>
                      <a:pt x="7" y="1903"/>
                    </a:lnTo>
                    <a:lnTo>
                      <a:pt x="3" y="1906"/>
                    </a:lnTo>
                    <a:lnTo>
                      <a:pt x="0" y="1909"/>
                    </a:lnTo>
                    <a:lnTo>
                      <a:pt x="15" y="1931"/>
                    </a:lnTo>
                    <a:lnTo>
                      <a:pt x="31" y="1950"/>
                    </a:lnTo>
                    <a:lnTo>
                      <a:pt x="45" y="1966"/>
                    </a:lnTo>
                    <a:lnTo>
                      <a:pt x="58" y="1980"/>
                    </a:lnTo>
                    <a:lnTo>
                      <a:pt x="69" y="1993"/>
                    </a:lnTo>
                    <a:lnTo>
                      <a:pt x="76" y="2006"/>
                    </a:lnTo>
                    <a:lnTo>
                      <a:pt x="80" y="2013"/>
                    </a:lnTo>
                    <a:lnTo>
                      <a:pt x="82" y="2021"/>
                    </a:lnTo>
                    <a:lnTo>
                      <a:pt x="83" y="2027"/>
                    </a:lnTo>
                    <a:lnTo>
                      <a:pt x="84" y="2035"/>
                    </a:lnTo>
                    <a:lnTo>
                      <a:pt x="87" y="2037"/>
                    </a:lnTo>
                    <a:lnTo>
                      <a:pt x="98" y="2041"/>
                    </a:lnTo>
                    <a:lnTo>
                      <a:pt x="115" y="2049"/>
                    </a:lnTo>
                    <a:lnTo>
                      <a:pt x="136" y="2057"/>
                    </a:lnTo>
                    <a:lnTo>
                      <a:pt x="161" y="2064"/>
                    </a:lnTo>
                    <a:lnTo>
                      <a:pt x="190" y="2071"/>
                    </a:lnTo>
                    <a:lnTo>
                      <a:pt x="205" y="2073"/>
                    </a:lnTo>
                    <a:lnTo>
                      <a:pt x="220" y="2075"/>
                    </a:lnTo>
                    <a:lnTo>
                      <a:pt x="235" y="2076"/>
                    </a:lnTo>
                    <a:lnTo>
                      <a:pt x="252" y="2077"/>
                    </a:lnTo>
                    <a:lnTo>
                      <a:pt x="249" y="2082"/>
                    </a:lnTo>
                    <a:lnTo>
                      <a:pt x="245" y="2086"/>
                    </a:lnTo>
                    <a:lnTo>
                      <a:pt x="244" y="2091"/>
                    </a:lnTo>
                    <a:lnTo>
                      <a:pt x="243" y="2097"/>
                    </a:lnTo>
                    <a:lnTo>
                      <a:pt x="242" y="2110"/>
                    </a:lnTo>
                    <a:lnTo>
                      <a:pt x="244" y="2124"/>
                    </a:lnTo>
                    <a:lnTo>
                      <a:pt x="246" y="2141"/>
                    </a:lnTo>
                    <a:lnTo>
                      <a:pt x="249" y="2160"/>
                    </a:lnTo>
                    <a:lnTo>
                      <a:pt x="251" y="2181"/>
                    </a:lnTo>
                    <a:lnTo>
                      <a:pt x="252" y="2203"/>
                    </a:lnTo>
                    <a:lnTo>
                      <a:pt x="252" y="2234"/>
                    </a:lnTo>
                    <a:lnTo>
                      <a:pt x="254" y="2267"/>
                    </a:lnTo>
                    <a:lnTo>
                      <a:pt x="256" y="2299"/>
                    </a:lnTo>
                    <a:lnTo>
                      <a:pt x="259" y="2330"/>
                    </a:lnTo>
                    <a:lnTo>
                      <a:pt x="263" y="2362"/>
                    </a:lnTo>
                    <a:lnTo>
                      <a:pt x="268" y="2392"/>
                    </a:lnTo>
                    <a:lnTo>
                      <a:pt x="274" y="2422"/>
                    </a:lnTo>
                    <a:lnTo>
                      <a:pt x="280" y="2450"/>
                    </a:lnTo>
                    <a:lnTo>
                      <a:pt x="288" y="2476"/>
                    </a:lnTo>
                    <a:lnTo>
                      <a:pt x="295" y="2501"/>
                    </a:lnTo>
                    <a:lnTo>
                      <a:pt x="304" y="2524"/>
                    </a:lnTo>
                    <a:lnTo>
                      <a:pt x="314" y="2545"/>
                    </a:lnTo>
                    <a:lnTo>
                      <a:pt x="324" y="2563"/>
                    </a:lnTo>
                    <a:lnTo>
                      <a:pt x="334" y="2580"/>
                    </a:lnTo>
                    <a:lnTo>
                      <a:pt x="339" y="2586"/>
                    </a:lnTo>
                    <a:lnTo>
                      <a:pt x="344" y="2592"/>
                    </a:lnTo>
                    <a:lnTo>
                      <a:pt x="351" y="2597"/>
                    </a:lnTo>
                    <a:lnTo>
                      <a:pt x="356" y="2602"/>
                    </a:lnTo>
                    <a:lnTo>
                      <a:pt x="335" y="2601"/>
                    </a:lnTo>
                    <a:lnTo>
                      <a:pt x="303" y="2596"/>
                    </a:lnTo>
                    <a:lnTo>
                      <a:pt x="265" y="2593"/>
                    </a:lnTo>
                    <a:lnTo>
                      <a:pt x="226" y="2591"/>
                    </a:lnTo>
                    <a:lnTo>
                      <a:pt x="206" y="2592"/>
                    </a:lnTo>
                    <a:lnTo>
                      <a:pt x="188" y="2594"/>
                    </a:lnTo>
                    <a:lnTo>
                      <a:pt x="171" y="2597"/>
                    </a:lnTo>
                    <a:lnTo>
                      <a:pt x="156" y="2602"/>
                    </a:lnTo>
                    <a:lnTo>
                      <a:pt x="149" y="2605"/>
                    </a:lnTo>
                    <a:lnTo>
                      <a:pt x="143" y="2608"/>
                    </a:lnTo>
                    <a:lnTo>
                      <a:pt x="138" y="2613"/>
                    </a:lnTo>
                    <a:lnTo>
                      <a:pt x="134" y="2618"/>
                    </a:lnTo>
                    <a:lnTo>
                      <a:pt x="131" y="2623"/>
                    </a:lnTo>
                    <a:lnTo>
                      <a:pt x="128" y="2629"/>
                    </a:lnTo>
                    <a:lnTo>
                      <a:pt x="127" y="2636"/>
                    </a:lnTo>
                    <a:lnTo>
                      <a:pt x="125" y="2644"/>
                    </a:lnTo>
                    <a:lnTo>
                      <a:pt x="127" y="2663"/>
                    </a:lnTo>
                    <a:lnTo>
                      <a:pt x="128" y="2681"/>
                    </a:lnTo>
                    <a:lnTo>
                      <a:pt x="131" y="2698"/>
                    </a:lnTo>
                    <a:lnTo>
                      <a:pt x="135" y="2714"/>
                    </a:lnTo>
                    <a:lnTo>
                      <a:pt x="140" y="2728"/>
                    </a:lnTo>
                    <a:lnTo>
                      <a:pt x="145" y="2742"/>
                    </a:lnTo>
                    <a:lnTo>
                      <a:pt x="152" y="2756"/>
                    </a:lnTo>
                    <a:lnTo>
                      <a:pt x="158" y="2769"/>
                    </a:lnTo>
                    <a:lnTo>
                      <a:pt x="166" y="2781"/>
                    </a:lnTo>
                    <a:lnTo>
                      <a:pt x="174" y="2793"/>
                    </a:lnTo>
                    <a:lnTo>
                      <a:pt x="183" y="2804"/>
                    </a:lnTo>
                    <a:lnTo>
                      <a:pt x="192" y="2815"/>
                    </a:lnTo>
                    <a:lnTo>
                      <a:pt x="212" y="2837"/>
                    </a:lnTo>
                    <a:lnTo>
                      <a:pt x="231" y="2859"/>
                    </a:lnTo>
                    <a:lnTo>
                      <a:pt x="250" y="2881"/>
                    </a:lnTo>
                    <a:lnTo>
                      <a:pt x="269" y="2904"/>
                    </a:lnTo>
                    <a:lnTo>
                      <a:pt x="278" y="2917"/>
                    </a:lnTo>
                    <a:lnTo>
                      <a:pt x="287" y="2929"/>
                    </a:lnTo>
                    <a:lnTo>
                      <a:pt x="295" y="2943"/>
                    </a:lnTo>
                    <a:lnTo>
                      <a:pt x="303" y="2957"/>
                    </a:lnTo>
                    <a:lnTo>
                      <a:pt x="310" y="2971"/>
                    </a:lnTo>
                    <a:lnTo>
                      <a:pt x="316" y="2987"/>
                    </a:lnTo>
                    <a:lnTo>
                      <a:pt x="322" y="3004"/>
                    </a:lnTo>
                    <a:lnTo>
                      <a:pt x="327" y="3021"/>
                    </a:lnTo>
                    <a:lnTo>
                      <a:pt x="330" y="3041"/>
                    </a:lnTo>
                    <a:lnTo>
                      <a:pt x="334" y="3060"/>
                    </a:lnTo>
                    <a:lnTo>
                      <a:pt x="335" y="3082"/>
                    </a:lnTo>
                    <a:lnTo>
                      <a:pt x="336" y="3105"/>
                    </a:lnTo>
                    <a:lnTo>
                      <a:pt x="483" y="3105"/>
                    </a:lnTo>
                    <a:lnTo>
                      <a:pt x="498" y="3098"/>
                    </a:lnTo>
                    <a:lnTo>
                      <a:pt x="514" y="3091"/>
                    </a:lnTo>
                    <a:lnTo>
                      <a:pt x="532" y="3086"/>
                    </a:lnTo>
                    <a:lnTo>
                      <a:pt x="548" y="3080"/>
                    </a:lnTo>
                    <a:lnTo>
                      <a:pt x="583" y="3071"/>
                    </a:lnTo>
                    <a:lnTo>
                      <a:pt x="619" y="3064"/>
                    </a:lnTo>
                    <a:lnTo>
                      <a:pt x="689" y="3052"/>
                    </a:lnTo>
                    <a:lnTo>
                      <a:pt x="755" y="3040"/>
                    </a:lnTo>
                    <a:lnTo>
                      <a:pt x="771" y="3037"/>
                    </a:lnTo>
                    <a:lnTo>
                      <a:pt x="786" y="3032"/>
                    </a:lnTo>
                    <a:lnTo>
                      <a:pt x="800" y="3028"/>
                    </a:lnTo>
                    <a:lnTo>
                      <a:pt x="813" y="3022"/>
                    </a:lnTo>
                    <a:lnTo>
                      <a:pt x="826" y="3017"/>
                    </a:lnTo>
                    <a:lnTo>
                      <a:pt x="838" y="3011"/>
                    </a:lnTo>
                    <a:lnTo>
                      <a:pt x="850" y="3004"/>
                    </a:lnTo>
                    <a:lnTo>
                      <a:pt x="860" y="2996"/>
                    </a:lnTo>
                    <a:lnTo>
                      <a:pt x="870" y="2987"/>
                    </a:lnTo>
                    <a:lnTo>
                      <a:pt x="877" y="2978"/>
                    </a:lnTo>
                    <a:lnTo>
                      <a:pt x="885" y="2967"/>
                    </a:lnTo>
                    <a:lnTo>
                      <a:pt x="890" y="2955"/>
                    </a:lnTo>
                    <a:lnTo>
                      <a:pt x="896" y="2943"/>
                    </a:lnTo>
                    <a:lnTo>
                      <a:pt x="899" y="2928"/>
                    </a:lnTo>
                    <a:lnTo>
                      <a:pt x="901" y="2912"/>
                    </a:lnTo>
                    <a:lnTo>
                      <a:pt x="902" y="2896"/>
                    </a:lnTo>
                    <a:lnTo>
                      <a:pt x="902" y="2880"/>
                    </a:lnTo>
                    <a:lnTo>
                      <a:pt x="902" y="2864"/>
                    </a:lnTo>
                    <a:lnTo>
                      <a:pt x="902" y="2848"/>
                    </a:lnTo>
                    <a:lnTo>
                      <a:pt x="902" y="2833"/>
                    </a:lnTo>
                    <a:lnTo>
                      <a:pt x="944" y="2839"/>
                    </a:lnTo>
                    <a:lnTo>
                      <a:pt x="982" y="2842"/>
                    </a:lnTo>
                    <a:lnTo>
                      <a:pt x="1017" y="2842"/>
                    </a:lnTo>
                    <a:lnTo>
                      <a:pt x="1050" y="2840"/>
                    </a:lnTo>
                    <a:lnTo>
                      <a:pt x="1079" y="2836"/>
                    </a:lnTo>
                    <a:lnTo>
                      <a:pt x="1106" y="2828"/>
                    </a:lnTo>
                    <a:lnTo>
                      <a:pt x="1131" y="2820"/>
                    </a:lnTo>
                    <a:lnTo>
                      <a:pt x="1154" y="2809"/>
                    </a:lnTo>
                    <a:lnTo>
                      <a:pt x="1175" y="2797"/>
                    </a:lnTo>
                    <a:lnTo>
                      <a:pt x="1195" y="2783"/>
                    </a:lnTo>
                    <a:lnTo>
                      <a:pt x="1212" y="2766"/>
                    </a:lnTo>
                    <a:lnTo>
                      <a:pt x="1228" y="2750"/>
                    </a:lnTo>
                    <a:lnTo>
                      <a:pt x="1244" y="2732"/>
                    </a:lnTo>
                    <a:lnTo>
                      <a:pt x="1258" y="2714"/>
                    </a:lnTo>
                    <a:lnTo>
                      <a:pt x="1272" y="2694"/>
                    </a:lnTo>
                    <a:lnTo>
                      <a:pt x="1285" y="2675"/>
                    </a:lnTo>
                    <a:lnTo>
                      <a:pt x="1310" y="2635"/>
                    </a:lnTo>
                    <a:lnTo>
                      <a:pt x="1335" y="2596"/>
                    </a:lnTo>
                    <a:lnTo>
                      <a:pt x="1348" y="2578"/>
                    </a:lnTo>
                    <a:lnTo>
                      <a:pt x="1361" y="2559"/>
                    </a:lnTo>
                    <a:lnTo>
                      <a:pt x="1377" y="2542"/>
                    </a:lnTo>
                    <a:lnTo>
                      <a:pt x="1392" y="2525"/>
                    </a:lnTo>
                    <a:lnTo>
                      <a:pt x="1408" y="2510"/>
                    </a:lnTo>
                    <a:lnTo>
                      <a:pt x="1427" y="2497"/>
                    </a:lnTo>
                    <a:lnTo>
                      <a:pt x="1446" y="2485"/>
                    </a:lnTo>
                    <a:lnTo>
                      <a:pt x="1467" y="2474"/>
                    </a:lnTo>
                    <a:lnTo>
                      <a:pt x="1490" y="2466"/>
                    </a:lnTo>
                    <a:lnTo>
                      <a:pt x="1516" y="2460"/>
                    </a:lnTo>
                    <a:lnTo>
                      <a:pt x="1543" y="2457"/>
                    </a:lnTo>
                    <a:lnTo>
                      <a:pt x="1574" y="2454"/>
                    </a:lnTo>
                    <a:lnTo>
                      <a:pt x="1574" y="2434"/>
                    </a:lnTo>
                    <a:lnTo>
                      <a:pt x="1559" y="2406"/>
                    </a:lnTo>
                    <a:lnTo>
                      <a:pt x="1547" y="2379"/>
                    </a:lnTo>
                    <a:lnTo>
                      <a:pt x="1536" y="2352"/>
                    </a:lnTo>
                    <a:lnTo>
                      <a:pt x="1527" y="2325"/>
                    </a:lnTo>
                    <a:lnTo>
                      <a:pt x="1511" y="2272"/>
                    </a:lnTo>
                    <a:lnTo>
                      <a:pt x="1497" y="2221"/>
                    </a:lnTo>
                    <a:lnTo>
                      <a:pt x="1490" y="2197"/>
                    </a:lnTo>
                    <a:lnTo>
                      <a:pt x="1482" y="2174"/>
                    </a:lnTo>
                    <a:lnTo>
                      <a:pt x="1474" y="2151"/>
                    </a:lnTo>
                    <a:lnTo>
                      <a:pt x="1464" y="2130"/>
                    </a:lnTo>
                    <a:lnTo>
                      <a:pt x="1458" y="2120"/>
                    </a:lnTo>
                    <a:lnTo>
                      <a:pt x="1453" y="2110"/>
                    </a:lnTo>
                    <a:lnTo>
                      <a:pt x="1446" y="2100"/>
                    </a:lnTo>
                    <a:lnTo>
                      <a:pt x="1440" y="2090"/>
                    </a:lnTo>
                    <a:lnTo>
                      <a:pt x="1432" y="2082"/>
                    </a:lnTo>
                    <a:lnTo>
                      <a:pt x="1423" y="2073"/>
                    </a:lnTo>
                    <a:lnTo>
                      <a:pt x="1415" y="2064"/>
                    </a:lnTo>
                    <a:lnTo>
                      <a:pt x="1406" y="2057"/>
                    </a:lnTo>
                    <a:lnTo>
                      <a:pt x="1420" y="2040"/>
                    </a:lnTo>
                    <a:lnTo>
                      <a:pt x="1432" y="2025"/>
                    </a:lnTo>
                    <a:lnTo>
                      <a:pt x="1443" y="2009"/>
                    </a:lnTo>
                    <a:lnTo>
                      <a:pt x="1451" y="1992"/>
                    </a:lnTo>
                    <a:lnTo>
                      <a:pt x="1458" y="1976"/>
                    </a:lnTo>
                    <a:lnTo>
                      <a:pt x="1464" y="1960"/>
                    </a:lnTo>
                    <a:lnTo>
                      <a:pt x="1468" y="1942"/>
                    </a:lnTo>
                    <a:lnTo>
                      <a:pt x="1471" y="1925"/>
                    </a:lnTo>
                    <a:lnTo>
                      <a:pt x="1476" y="1889"/>
                    </a:lnTo>
                    <a:lnTo>
                      <a:pt x="1479" y="1850"/>
                    </a:lnTo>
                    <a:lnTo>
                      <a:pt x="1483" y="1808"/>
                    </a:lnTo>
                    <a:lnTo>
                      <a:pt x="1490" y="1762"/>
                    </a:lnTo>
                    <a:lnTo>
                      <a:pt x="1493" y="1749"/>
                    </a:lnTo>
                    <a:lnTo>
                      <a:pt x="1499" y="1735"/>
                    </a:lnTo>
                    <a:lnTo>
                      <a:pt x="1504" y="1723"/>
                    </a:lnTo>
                    <a:lnTo>
                      <a:pt x="1509" y="1710"/>
                    </a:lnTo>
                    <a:lnTo>
                      <a:pt x="1516" y="1698"/>
                    </a:lnTo>
                    <a:lnTo>
                      <a:pt x="1523" y="1686"/>
                    </a:lnTo>
                    <a:lnTo>
                      <a:pt x="1530" y="1675"/>
                    </a:lnTo>
                    <a:lnTo>
                      <a:pt x="1538" y="1664"/>
                    </a:lnTo>
                    <a:lnTo>
                      <a:pt x="1554" y="1642"/>
                    </a:lnTo>
                    <a:lnTo>
                      <a:pt x="1572" y="1623"/>
                    </a:lnTo>
                    <a:lnTo>
                      <a:pt x="1590" y="1604"/>
                    </a:lnTo>
                    <a:lnTo>
                      <a:pt x="1610" y="1587"/>
                    </a:lnTo>
                    <a:lnTo>
                      <a:pt x="1629" y="1570"/>
                    </a:lnTo>
                    <a:lnTo>
                      <a:pt x="1650" y="1555"/>
                    </a:lnTo>
                    <a:lnTo>
                      <a:pt x="1670" y="1542"/>
                    </a:lnTo>
                    <a:lnTo>
                      <a:pt x="1690" y="1529"/>
                    </a:lnTo>
                    <a:lnTo>
                      <a:pt x="1729" y="1507"/>
                    </a:lnTo>
                    <a:lnTo>
                      <a:pt x="1762" y="1490"/>
                    </a:lnTo>
                    <a:lnTo>
                      <a:pt x="1762" y="776"/>
                    </a:lnTo>
                    <a:lnTo>
                      <a:pt x="420" y="0"/>
                    </a:lnTo>
                    <a:lnTo>
                      <a:pt x="398" y="1"/>
                    </a:lnTo>
                    <a:lnTo>
                      <a:pt x="379" y="3"/>
                    </a:lnTo>
                    <a:lnTo>
                      <a:pt x="363" y="6"/>
                    </a:lnTo>
                    <a:lnTo>
                      <a:pt x="349" y="11"/>
                    </a:lnTo>
                    <a:lnTo>
                      <a:pt x="336" y="14"/>
                    </a:lnTo>
                    <a:lnTo>
                      <a:pt x="322" y="17"/>
                    </a:lnTo>
                    <a:lnTo>
                      <a:pt x="309" y="19"/>
                    </a:lnTo>
                    <a:lnTo>
                      <a:pt x="293" y="20"/>
                    </a:lnTo>
                    <a:lnTo>
                      <a:pt x="285" y="30"/>
                    </a:lnTo>
                    <a:lnTo>
                      <a:pt x="265" y="52"/>
                    </a:lnTo>
                    <a:lnTo>
                      <a:pt x="255" y="64"/>
                    </a:lnTo>
                    <a:lnTo>
                      <a:pt x="250" y="74"/>
                    </a:lnTo>
                    <a:lnTo>
                      <a:pt x="247" y="78"/>
                    </a:lnTo>
                    <a:lnTo>
                      <a:pt x="247" y="82"/>
                    </a:lnTo>
                    <a:lnTo>
                      <a:pt x="249" y="83"/>
                    </a:lnTo>
                    <a:lnTo>
                      <a:pt x="252" y="84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8" name="Freeform 256"/>
              <p:cNvSpPr>
                <a:spLocks/>
              </p:cNvSpPr>
              <p:nvPr/>
            </p:nvSpPr>
            <p:spPr bwMode="auto">
              <a:xfrm>
                <a:off x="2817" y="1634"/>
                <a:ext cx="353" cy="621"/>
              </a:xfrm>
              <a:custGeom>
                <a:avLst/>
                <a:gdLst/>
                <a:ahLst/>
                <a:cxnLst>
                  <a:cxn ang="0">
                    <a:pos x="276" y="412"/>
                  </a:cxn>
                  <a:cxn ang="0">
                    <a:pos x="324" y="511"/>
                  </a:cxn>
                  <a:cxn ang="0">
                    <a:pos x="342" y="584"/>
                  </a:cxn>
                  <a:cxn ang="0">
                    <a:pos x="338" y="659"/>
                  </a:cxn>
                  <a:cxn ang="0">
                    <a:pos x="316" y="754"/>
                  </a:cxn>
                  <a:cxn ang="0">
                    <a:pos x="317" y="1116"/>
                  </a:cxn>
                  <a:cxn ang="0">
                    <a:pos x="306" y="1214"/>
                  </a:cxn>
                  <a:cxn ang="0">
                    <a:pos x="279" y="1302"/>
                  </a:cxn>
                  <a:cxn ang="0">
                    <a:pos x="228" y="1391"/>
                  </a:cxn>
                  <a:cxn ang="0">
                    <a:pos x="147" y="1490"/>
                  </a:cxn>
                  <a:cxn ang="0">
                    <a:pos x="97" y="1557"/>
                  </a:cxn>
                  <a:cxn ang="0">
                    <a:pos x="56" y="1672"/>
                  </a:cxn>
                  <a:cxn ang="0">
                    <a:pos x="19" y="1873"/>
                  </a:cxn>
                  <a:cxn ang="0">
                    <a:pos x="0" y="1909"/>
                  </a:cxn>
                  <a:cxn ang="0">
                    <a:pos x="69" y="1993"/>
                  </a:cxn>
                  <a:cxn ang="0">
                    <a:pos x="84" y="2035"/>
                  </a:cxn>
                  <a:cxn ang="0">
                    <a:pos x="161" y="2064"/>
                  </a:cxn>
                  <a:cxn ang="0">
                    <a:pos x="252" y="2077"/>
                  </a:cxn>
                  <a:cxn ang="0">
                    <a:pos x="242" y="2110"/>
                  </a:cxn>
                  <a:cxn ang="0">
                    <a:pos x="252" y="2203"/>
                  </a:cxn>
                  <a:cxn ang="0">
                    <a:pos x="263" y="2362"/>
                  </a:cxn>
                  <a:cxn ang="0">
                    <a:pos x="295" y="2501"/>
                  </a:cxn>
                  <a:cxn ang="0">
                    <a:pos x="339" y="2586"/>
                  </a:cxn>
                  <a:cxn ang="0">
                    <a:pos x="303" y="2596"/>
                  </a:cxn>
                  <a:cxn ang="0">
                    <a:pos x="171" y="2597"/>
                  </a:cxn>
                  <a:cxn ang="0">
                    <a:pos x="134" y="2618"/>
                  </a:cxn>
                  <a:cxn ang="0">
                    <a:pos x="127" y="2663"/>
                  </a:cxn>
                  <a:cxn ang="0">
                    <a:pos x="145" y="2742"/>
                  </a:cxn>
                  <a:cxn ang="0">
                    <a:pos x="183" y="2804"/>
                  </a:cxn>
                  <a:cxn ang="0">
                    <a:pos x="269" y="2904"/>
                  </a:cxn>
                  <a:cxn ang="0">
                    <a:pos x="310" y="2971"/>
                  </a:cxn>
                  <a:cxn ang="0">
                    <a:pos x="334" y="3060"/>
                  </a:cxn>
                  <a:cxn ang="0">
                    <a:pos x="514" y="3091"/>
                  </a:cxn>
                  <a:cxn ang="0">
                    <a:pos x="689" y="3052"/>
                  </a:cxn>
                  <a:cxn ang="0">
                    <a:pos x="813" y="3022"/>
                  </a:cxn>
                  <a:cxn ang="0">
                    <a:pos x="870" y="2987"/>
                  </a:cxn>
                  <a:cxn ang="0">
                    <a:pos x="899" y="2928"/>
                  </a:cxn>
                  <a:cxn ang="0">
                    <a:pos x="902" y="2848"/>
                  </a:cxn>
                  <a:cxn ang="0">
                    <a:pos x="1050" y="2840"/>
                  </a:cxn>
                  <a:cxn ang="0">
                    <a:pos x="1175" y="2797"/>
                  </a:cxn>
                  <a:cxn ang="0">
                    <a:pos x="1258" y="2714"/>
                  </a:cxn>
                  <a:cxn ang="0">
                    <a:pos x="1348" y="2578"/>
                  </a:cxn>
                  <a:cxn ang="0">
                    <a:pos x="1427" y="2497"/>
                  </a:cxn>
                  <a:cxn ang="0">
                    <a:pos x="1543" y="2457"/>
                  </a:cxn>
                  <a:cxn ang="0">
                    <a:pos x="1536" y="2352"/>
                  </a:cxn>
                  <a:cxn ang="0">
                    <a:pos x="1482" y="2174"/>
                  </a:cxn>
                  <a:cxn ang="0">
                    <a:pos x="1446" y="2100"/>
                  </a:cxn>
                  <a:cxn ang="0">
                    <a:pos x="1406" y="2057"/>
                  </a:cxn>
                  <a:cxn ang="0">
                    <a:pos x="1458" y="1976"/>
                  </a:cxn>
                  <a:cxn ang="0">
                    <a:pos x="1479" y="1850"/>
                  </a:cxn>
                  <a:cxn ang="0">
                    <a:pos x="1504" y="1723"/>
                  </a:cxn>
                  <a:cxn ang="0">
                    <a:pos x="1538" y="1664"/>
                  </a:cxn>
                  <a:cxn ang="0">
                    <a:pos x="1629" y="1570"/>
                  </a:cxn>
                  <a:cxn ang="0">
                    <a:pos x="1762" y="1490"/>
                  </a:cxn>
                  <a:cxn ang="0">
                    <a:pos x="363" y="6"/>
                  </a:cxn>
                  <a:cxn ang="0">
                    <a:pos x="293" y="20"/>
                  </a:cxn>
                  <a:cxn ang="0">
                    <a:pos x="247" y="78"/>
                  </a:cxn>
                </a:cxnLst>
                <a:rect l="0" t="0" r="r" b="b"/>
                <a:pathLst>
                  <a:path w="1762" h="3105">
                    <a:moveTo>
                      <a:pt x="252" y="84"/>
                    </a:moveTo>
                    <a:lnTo>
                      <a:pt x="231" y="335"/>
                    </a:lnTo>
                    <a:lnTo>
                      <a:pt x="247" y="363"/>
                    </a:lnTo>
                    <a:lnTo>
                      <a:pt x="263" y="388"/>
                    </a:lnTo>
                    <a:lnTo>
                      <a:pt x="276" y="412"/>
                    </a:lnTo>
                    <a:lnTo>
                      <a:pt x="289" y="434"/>
                    </a:lnTo>
                    <a:lnTo>
                      <a:pt x="299" y="454"/>
                    </a:lnTo>
                    <a:lnTo>
                      <a:pt x="309" y="475"/>
                    </a:lnTo>
                    <a:lnTo>
                      <a:pt x="316" y="494"/>
                    </a:lnTo>
                    <a:lnTo>
                      <a:pt x="324" y="511"/>
                    </a:lnTo>
                    <a:lnTo>
                      <a:pt x="329" y="527"/>
                    </a:lnTo>
                    <a:lnTo>
                      <a:pt x="334" y="543"/>
                    </a:lnTo>
                    <a:lnTo>
                      <a:pt x="337" y="557"/>
                    </a:lnTo>
                    <a:lnTo>
                      <a:pt x="340" y="571"/>
                    </a:lnTo>
                    <a:lnTo>
                      <a:pt x="342" y="584"/>
                    </a:lnTo>
                    <a:lnTo>
                      <a:pt x="343" y="596"/>
                    </a:lnTo>
                    <a:lnTo>
                      <a:pt x="343" y="608"/>
                    </a:lnTo>
                    <a:lnTo>
                      <a:pt x="343" y="619"/>
                    </a:lnTo>
                    <a:lnTo>
                      <a:pt x="341" y="640"/>
                    </a:lnTo>
                    <a:lnTo>
                      <a:pt x="338" y="659"/>
                    </a:lnTo>
                    <a:lnTo>
                      <a:pt x="334" y="678"/>
                    </a:lnTo>
                    <a:lnTo>
                      <a:pt x="328" y="695"/>
                    </a:lnTo>
                    <a:lnTo>
                      <a:pt x="323" y="714"/>
                    </a:lnTo>
                    <a:lnTo>
                      <a:pt x="318" y="733"/>
                    </a:lnTo>
                    <a:lnTo>
                      <a:pt x="316" y="754"/>
                    </a:lnTo>
                    <a:lnTo>
                      <a:pt x="315" y="776"/>
                    </a:lnTo>
                    <a:lnTo>
                      <a:pt x="316" y="912"/>
                    </a:lnTo>
                    <a:lnTo>
                      <a:pt x="318" y="1023"/>
                    </a:lnTo>
                    <a:lnTo>
                      <a:pt x="318" y="1072"/>
                    </a:lnTo>
                    <a:lnTo>
                      <a:pt x="317" y="1116"/>
                    </a:lnTo>
                    <a:lnTo>
                      <a:pt x="316" y="1137"/>
                    </a:lnTo>
                    <a:lnTo>
                      <a:pt x="314" y="1157"/>
                    </a:lnTo>
                    <a:lnTo>
                      <a:pt x="312" y="1177"/>
                    </a:lnTo>
                    <a:lnTo>
                      <a:pt x="310" y="1196"/>
                    </a:lnTo>
                    <a:lnTo>
                      <a:pt x="306" y="1214"/>
                    </a:lnTo>
                    <a:lnTo>
                      <a:pt x="302" y="1233"/>
                    </a:lnTo>
                    <a:lnTo>
                      <a:pt x="298" y="1250"/>
                    </a:lnTo>
                    <a:lnTo>
                      <a:pt x="292" y="1267"/>
                    </a:lnTo>
                    <a:lnTo>
                      <a:pt x="286" y="1285"/>
                    </a:lnTo>
                    <a:lnTo>
                      <a:pt x="279" y="1302"/>
                    </a:lnTo>
                    <a:lnTo>
                      <a:pt x="270" y="1320"/>
                    </a:lnTo>
                    <a:lnTo>
                      <a:pt x="262" y="1337"/>
                    </a:lnTo>
                    <a:lnTo>
                      <a:pt x="251" y="1355"/>
                    </a:lnTo>
                    <a:lnTo>
                      <a:pt x="240" y="1372"/>
                    </a:lnTo>
                    <a:lnTo>
                      <a:pt x="228" y="1391"/>
                    </a:lnTo>
                    <a:lnTo>
                      <a:pt x="214" y="1409"/>
                    </a:lnTo>
                    <a:lnTo>
                      <a:pt x="200" y="1428"/>
                    </a:lnTo>
                    <a:lnTo>
                      <a:pt x="183" y="1448"/>
                    </a:lnTo>
                    <a:lnTo>
                      <a:pt x="166" y="1468"/>
                    </a:lnTo>
                    <a:lnTo>
                      <a:pt x="147" y="1490"/>
                    </a:lnTo>
                    <a:lnTo>
                      <a:pt x="135" y="1502"/>
                    </a:lnTo>
                    <a:lnTo>
                      <a:pt x="124" y="1515"/>
                    </a:lnTo>
                    <a:lnTo>
                      <a:pt x="115" y="1529"/>
                    </a:lnTo>
                    <a:lnTo>
                      <a:pt x="106" y="1543"/>
                    </a:lnTo>
                    <a:lnTo>
                      <a:pt x="97" y="1557"/>
                    </a:lnTo>
                    <a:lnTo>
                      <a:pt x="89" y="1574"/>
                    </a:lnTo>
                    <a:lnTo>
                      <a:pt x="83" y="1589"/>
                    </a:lnTo>
                    <a:lnTo>
                      <a:pt x="76" y="1605"/>
                    </a:lnTo>
                    <a:lnTo>
                      <a:pt x="65" y="1638"/>
                    </a:lnTo>
                    <a:lnTo>
                      <a:pt x="56" y="1672"/>
                    </a:lnTo>
                    <a:lnTo>
                      <a:pt x="48" y="1706"/>
                    </a:lnTo>
                    <a:lnTo>
                      <a:pt x="42" y="1738"/>
                    </a:lnTo>
                    <a:lnTo>
                      <a:pt x="32" y="1800"/>
                    </a:lnTo>
                    <a:lnTo>
                      <a:pt x="23" y="1853"/>
                    </a:lnTo>
                    <a:lnTo>
                      <a:pt x="19" y="1873"/>
                    </a:lnTo>
                    <a:lnTo>
                      <a:pt x="13" y="1890"/>
                    </a:lnTo>
                    <a:lnTo>
                      <a:pt x="10" y="1897"/>
                    </a:lnTo>
                    <a:lnTo>
                      <a:pt x="7" y="1903"/>
                    </a:lnTo>
                    <a:lnTo>
                      <a:pt x="3" y="1906"/>
                    </a:lnTo>
                    <a:lnTo>
                      <a:pt x="0" y="1909"/>
                    </a:lnTo>
                    <a:lnTo>
                      <a:pt x="15" y="1931"/>
                    </a:lnTo>
                    <a:lnTo>
                      <a:pt x="31" y="1950"/>
                    </a:lnTo>
                    <a:lnTo>
                      <a:pt x="45" y="1966"/>
                    </a:lnTo>
                    <a:lnTo>
                      <a:pt x="58" y="1980"/>
                    </a:lnTo>
                    <a:lnTo>
                      <a:pt x="69" y="1993"/>
                    </a:lnTo>
                    <a:lnTo>
                      <a:pt x="76" y="2006"/>
                    </a:lnTo>
                    <a:lnTo>
                      <a:pt x="80" y="2013"/>
                    </a:lnTo>
                    <a:lnTo>
                      <a:pt x="82" y="2021"/>
                    </a:lnTo>
                    <a:lnTo>
                      <a:pt x="83" y="2027"/>
                    </a:lnTo>
                    <a:lnTo>
                      <a:pt x="84" y="2035"/>
                    </a:lnTo>
                    <a:lnTo>
                      <a:pt x="87" y="2037"/>
                    </a:lnTo>
                    <a:lnTo>
                      <a:pt x="98" y="2041"/>
                    </a:lnTo>
                    <a:lnTo>
                      <a:pt x="115" y="2049"/>
                    </a:lnTo>
                    <a:lnTo>
                      <a:pt x="136" y="2057"/>
                    </a:lnTo>
                    <a:lnTo>
                      <a:pt x="161" y="2064"/>
                    </a:lnTo>
                    <a:lnTo>
                      <a:pt x="190" y="2071"/>
                    </a:lnTo>
                    <a:lnTo>
                      <a:pt x="205" y="2073"/>
                    </a:lnTo>
                    <a:lnTo>
                      <a:pt x="220" y="2075"/>
                    </a:lnTo>
                    <a:lnTo>
                      <a:pt x="235" y="2076"/>
                    </a:lnTo>
                    <a:lnTo>
                      <a:pt x="252" y="2077"/>
                    </a:lnTo>
                    <a:lnTo>
                      <a:pt x="249" y="2082"/>
                    </a:lnTo>
                    <a:lnTo>
                      <a:pt x="245" y="2086"/>
                    </a:lnTo>
                    <a:lnTo>
                      <a:pt x="244" y="2091"/>
                    </a:lnTo>
                    <a:lnTo>
                      <a:pt x="243" y="2097"/>
                    </a:lnTo>
                    <a:lnTo>
                      <a:pt x="242" y="2110"/>
                    </a:lnTo>
                    <a:lnTo>
                      <a:pt x="244" y="2124"/>
                    </a:lnTo>
                    <a:lnTo>
                      <a:pt x="246" y="2141"/>
                    </a:lnTo>
                    <a:lnTo>
                      <a:pt x="249" y="2160"/>
                    </a:lnTo>
                    <a:lnTo>
                      <a:pt x="251" y="2181"/>
                    </a:lnTo>
                    <a:lnTo>
                      <a:pt x="252" y="2203"/>
                    </a:lnTo>
                    <a:lnTo>
                      <a:pt x="252" y="2234"/>
                    </a:lnTo>
                    <a:lnTo>
                      <a:pt x="254" y="2267"/>
                    </a:lnTo>
                    <a:lnTo>
                      <a:pt x="256" y="2299"/>
                    </a:lnTo>
                    <a:lnTo>
                      <a:pt x="259" y="2330"/>
                    </a:lnTo>
                    <a:lnTo>
                      <a:pt x="263" y="2362"/>
                    </a:lnTo>
                    <a:lnTo>
                      <a:pt x="268" y="2392"/>
                    </a:lnTo>
                    <a:lnTo>
                      <a:pt x="274" y="2422"/>
                    </a:lnTo>
                    <a:lnTo>
                      <a:pt x="280" y="2450"/>
                    </a:lnTo>
                    <a:lnTo>
                      <a:pt x="288" y="2476"/>
                    </a:lnTo>
                    <a:lnTo>
                      <a:pt x="295" y="2501"/>
                    </a:lnTo>
                    <a:lnTo>
                      <a:pt x="304" y="2524"/>
                    </a:lnTo>
                    <a:lnTo>
                      <a:pt x="314" y="2545"/>
                    </a:lnTo>
                    <a:lnTo>
                      <a:pt x="324" y="2563"/>
                    </a:lnTo>
                    <a:lnTo>
                      <a:pt x="334" y="2580"/>
                    </a:lnTo>
                    <a:lnTo>
                      <a:pt x="339" y="2586"/>
                    </a:lnTo>
                    <a:lnTo>
                      <a:pt x="344" y="2592"/>
                    </a:lnTo>
                    <a:lnTo>
                      <a:pt x="351" y="2597"/>
                    </a:lnTo>
                    <a:lnTo>
                      <a:pt x="356" y="2602"/>
                    </a:lnTo>
                    <a:lnTo>
                      <a:pt x="335" y="2601"/>
                    </a:lnTo>
                    <a:lnTo>
                      <a:pt x="303" y="2596"/>
                    </a:lnTo>
                    <a:lnTo>
                      <a:pt x="265" y="2593"/>
                    </a:lnTo>
                    <a:lnTo>
                      <a:pt x="226" y="2591"/>
                    </a:lnTo>
                    <a:lnTo>
                      <a:pt x="206" y="2592"/>
                    </a:lnTo>
                    <a:lnTo>
                      <a:pt x="188" y="2594"/>
                    </a:lnTo>
                    <a:lnTo>
                      <a:pt x="171" y="2597"/>
                    </a:lnTo>
                    <a:lnTo>
                      <a:pt x="156" y="2602"/>
                    </a:lnTo>
                    <a:lnTo>
                      <a:pt x="149" y="2605"/>
                    </a:lnTo>
                    <a:lnTo>
                      <a:pt x="143" y="2608"/>
                    </a:lnTo>
                    <a:lnTo>
                      <a:pt x="138" y="2613"/>
                    </a:lnTo>
                    <a:lnTo>
                      <a:pt x="134" y="2618"/>
                    </a:lnTo>
                    <a:lnTo>
                      <a:pt x="131" y="2623"/>
                    </a:lnTo>
                    <a:lnTo>
                      <a:pt x="128" y="2629"/>
                    </a:lnTo>
                    <a:lnTo>
                      <a:pt x="127" y="2636"/>
                    </a:lnTo>
                    <a:lnTo>
                      <a:pt x="125" y="2644"/>
                    </a:lnTo>
                    <a:lnTo>
                      <a:pt x="127" y="2663"/>
                    </a:lnTo>
                    <a:lnTo>
                      <a:pt x="128" y="2681"/>
                    </a:lnTo>
                    <a:lnTo>
                      <a:pt x="131" y="2698"/>
                    </a:lnTo>
                    <a:lnTo>
                      <a:pt x="135" y="2714"/>
                    </a:lnTo>
                    <a:lnTo>
                      <a:pt x="140" y="2728"/>
                    </a:lnTo>
                    <a:lnTo>
                      <a:pt x="145" y="2742"/>
                    </a:lnTo>
                    <a:lnTo>
                      <a:pt x="152" y="2756"/>
                    </a:lnTo>
                    <a:lnTo>
                      <a:pt x="158" y="2769"/>
                    </a:lnTo>
                    <a:lnTo>
                      <a:pt x="166" y="2781"/>
                    </a:lnTo>
                    <a:lnTo>
                      <a:pt x="174" y="2793"/>
                    </a:lnTo>
                    <a:lnTo>
                      <a:pt x="183" y="2804"/>
                    </a:lnTo>
                    <a:lnTo>
                      <a:pt x="192" y="2815"/>
                    </a:lnTo>
                    <a:lnTo>
                      <a:pt x="212" y="2837"/>
                    </a:lnTo>
                    <a:lnTo>
                      <a:pt x="231" y="2859"/>
                    </a:lnTo>
                    <a:lnTo>
                      <a:pt x="250" y="2881"/>
                    </a:lnTo>
                    <a:lnTo>
                      <a:pt x="269" y="2904"/>
                    </a:lnTo>
                    <a:lnTo>
                      <a:pt x="278" y="2917"/>
                    </a:lnTo>
                    <a:lnTo>
                      <a:pt x="287" y="2929"/>
                    </a:lnTo>
                    <a:lnTo>
                      <a:pt x="295" y="2943"/>
                    </a:lnTo>
                    <a:lnTo>
                      <a:pt x="303" y="2957"/>
                    </a:lnTo>
                    <a:lnTo>
                      <a:pt x="310" y="2971"/>
                    </a:lnTo>
                    <a:lnTo>
                      <a:pt x="316" y="2987"/>
                    </a:lnTo>
                    <a:lnTo>
                      <a:pt x="322" y="3004"/>
                    </a:lnTo>
                    <a:lnTo>
                      <a:pt x="327" y="3021"/>
                    </a:lnTo>
                    <a:lnTo>
                      <a:pt x="330" y="3041"/>
                    </a:lnTo>
                    <a:lnTo>
                      <a:pt x="334" y="3060"/>
                    </a:lnTo>
                    <a:lnTo>
                      <a:pt x="335" y="3082"/>
                    </a:lnTo>
                    <a:lnTo>
                      <a:pt x="336" y="3105"/>
                    </a:lnTo>
                    <a:lnTo>
                      <a:pt x="483" y="3105"/>
                    </a:lnTo>
                    <a:lnTo>
                      <a:pt x="498" y="3098"/>
                    </a:lnTo>
                    <a:lnTo>
                      <a:pt x="514" y="3091"/>
                    </a:lnTo>
                    <a:lnTo>
                      <a:pt x="532" y="3086"/>
                    </a:lnTo>
                    <a:lnTo>
                      <a:pt x="548" y="3080"/>
                    </a:lnTo>
                    <a:lnTo>
                      <a:pt x="583" y="3071"/>
                    </a:lnTo>
                    <a:lnTo>
                      <a:pt x="619" y="3064"/>
                    </a:lnTo>
                    <a:lnTo>
                      <a:pt x="689" y="3052"/>
                    </a:lnTo>
                    <a:lnTo>
                      <a:pt x="755" y="3040"/>
                    </a:lnTo>
                    <a:lnTo>
                      <a:pt x="771" y="3037"/>
                    </a:lnTo>
                    <a:lnTo>
                      <a:pt x="786" y="3032"/>
                    </a:lnTo>
                    <a:lnTo>
                      <a:pt x="800" y="3028"/>
                    </a:lnTo>
                    <a:lnTo>
                      <a:pt x="813" y="3022"/>
                    </a:lnTo>
                    <a:lnTo>
                      <a:pt x="826" y="3017"/>
                    </a:lnTo>
                    <a:lnTo>
                      <a:pt x="838" y="3011"/>
                    </a:lnTo>
                    <a:lnTo>
                      <a:pt x="850" y="3004"/>
                    </a:lnTo>
                    <a:lnTo>
                      <a:pt x="860" y="2996"/>
                    </a:lnTo>
                    <a:lnTo>
                      <a:pt x="870" y="2987"/>
                    </a:lnTo>
                    <a:lnTo>
                      <a:pt x="877" y="2978"/>
                    </a:lnTo>
                    <a:lnTo>
                      <a:pt x="885" y="2967"/>
                    </a:lnTo>
                    <a:lnTo>
                      <a:pt x="890" y="2955"/>
                    </a:lnTo>
                    <a:lnTo>
                      <a:pt x="896" y="2943"/>
                    </a:lnTo>
                    <a:lnTo>
                      <a:pt x="899" y="2928"/>
                    </a:lnTo>
                    <a:lnTo>
                      <a:pt x="901" y="2912"/>
                    </a:lnTo>
                    <a:lnTo>
                      <a:pt x="902" y="2896"/>
                    </a:lnTo>
                    <a:lnTo>
                      <a:pt x="902" y="2880"/>
                    </a:lnTo>
                    <a:lnTo>
                      <a:pt x="902" y="2864"/>
                    </a:lnTo>
                    <a:lnTo>
                      <a:pt x="902" y="2848"/>
                    </a:lnTo>
                    <a:lnTo>
                      <a:pt x="902" y="2833"/>
                    </a:lnTo>
                    <a:lnTo>
                      <a:pt x="944" y="2839"/>
                    </a:lnTo>
                    <a:lnTo>
                      <a:pt x="982" y="2842"/>
                    </a:lnTo>
                    <a:lnTo>
                      <a:pt x="1017" y="2842"/>
                    </a:lnTo>
                    <a:lnTo>
                      <a:pt x="1050" y="2840"/>
                    </a:lnTo>
                    <a:lnTo>
                      <a:pt x="1079" y="2836"/>
                    </a:lnTo>
                    <a:lnTo>
                      <a:pt x="1106" y="2828"/>
                    </a:lnTo>
                    <a:lnTo>
                      <a:pt x="1131" y="2820"/>
                    </a:lnTo>
                    <a:lnTo>
                      <a:pt x="1154" y="2809"/>
                    </a:lnTo>
                    <a:lnTo>
                      <a:pt x="1175" y="2797"/>
                    </a:lnTo>
                    <a:lnTo>
                      <a:pt x="1195" y="2783"/>
                    </a:lnTo>
                    <a:lnTo>
                      <a:pt x="1212" y="2766"/>
                    </a:lnTo>
                    <a:lnTo>
                      <a:pt x="1228" y="2750"/>
                    </a:lnTo>
                    <a:lnTo>
                      <a:pt x="1244" y="2732"/>
                    </a:lnTo>
                    <a:lnTo>
                      <a:pt x="1258" y="2714"/>
                    </a:lnTo>
                    <a:lnTo>
                      <a:pt x="1272" y="2694"/>
                    </a:lnTo>
                    <a:lnTo>
                      <a:pt x="1285" y="2675"/>
                    </a:lnTo>
                    <a:lnTo>
                      <a:pt x="1310" y="2635"/>
                    </a:lnTo>
                    <a:lnTo>
                      <a:pt x="1335" y="2596"/>
                    </a:lnTo>
                    <a:lnTo>
                      <a:pt x="1348" y="2578"/>
                    </a:lnTo>
                    <a:lnTo>
                      <a:pt x="1361" y="2559"/>
                    </a:lnTo>
                    <a:lnTo>
                      <a:pt x="1377" y="2542"/>
                    </a:lnTo>
                    <a:lnTo>
                      <a:pt x="1392" y="2525"/>
                    </a:lnTo>
                    <a:lnTo>
                      <a:pt x="1408" y="2510"/>
                    </a:lnTo>
                    <a:lnTo>
                      <a:pt x="1427" y="2497"/>
                    </a:lnTo>
                    <a:lnTo>
                      <a:pt x="1446" y="2485"/>
                    </a:lnTo>
                    <a:lnTo>
                      <a:pt x="1467" y="2474"/>
                    </a:lnTo>
                    <a:lnTo>
                      <a:pt x="1490" y="2466"/>
                    </a:lnTo>
                    <a:lnTo>
                      <a:pt x="1516" y="2460"/>
                    </a:lnTo>
                    <a:lnTo>
                      <a:pt x="1543" y="2457"/>
                    </a:lnTo>
                    <a:lnTo>
                      <a:pt x="1574" y="2454"/>
                    </a:lnTo>
                    <a:lnTo>
                      <a:pt x="1574" y="2434"/>
                    </a:lnTo>
                    <a:lnTo>
                      <a:pt x="1559" y="2406"/>
                    </a:lnTo>
                    <a:lnTo>
                      <a:pt x="1547" y="2379"/>
                    </a:lnTo>
                    <a:lnTo>
                      <a:pt x="1536" y="2352"/>
                    </a:lnTo>
                    <a:lnTo>
                      <a:pt x="1527" y="2325"/>
                    </a:lnTo>
                    <a:lnTo>
                      <a:pt x="1511" y="2272"/>
                    </a:lnTo>
                    <a:lnTo>
                      <a:pt x="1497" y="2221"/>
                    </a:lnTo>
                    <a:lnTo>
                      <a:pt x="1490" y="2197"/>
                    </a:lnTo>
                    <a:lnTo>
                      <a:pt x="1482" y="2174"/>
                    </a:lnTo>
                    <a:lnTo>
                      <a:pt x="1474" y="2151"/>
                    </a:lnTo>
                    <a:lnTo>
                      <a:pt x="1464" y="2130"/>
                    </a:lnTo>
                    <a:lnTo>
                      <a:pt x="1458" y="2120"/>
                    </a:lnTo>
                    <a:lnTo>
                      <a:pt x="1453" y="2110"/>
                    </a:lnTo>
                    <a:lnTo>
                      <a:pt x="1446" y="2100"/>
                    </a:lnTo>
                    <a:lnTo>
                      <a:pt x="1440" y="2090"/>
                    </a:lnTo>
                    <a:lnTo>
                      <a:pt x="1432" y="2082"/>
                    </a:lnTo>
                    <a:lnTo>
                      <a:pt x="1423" y="2073"/>
                    </a:lnTo>
                    <a:lnTo>
                      <a:pt x="1415" y="2064"/>
                    </a:lnTo>
                    <a:lnTo>
                      <a:pt x="1406" y="2057"/>
                    </a:lnTo>
                    <a:lnTo>
                      <a:pt x="1420" y="2040"/>
                    </a:lnTo>
                    <a:lnTo>
                      <a:pt x="1432" y="2025"/>
                    </a:lnTo>
                    <a:lnTo>
                      <a:pt x="1443" y="2009"/>
                    </a:lnTo>
                    <a:lnTo>
                      <a:pt x="1451" y="1992"/>
                    </a:lnTo>
                    <a:lnTo>
                      <a:pt x="1458" y="1976"/>
                    </a:lnTo>
                    <a:lnTo>
                      <a:pt x="1464" y="1960"/>
                    </a:lnTo>
                    <a:lnTo>
                      <a:pt x="1468" y="1942"/>
                    </a:lnTo>
                    <a:lnTo>
                      <a:pt x="1471" y="1925"/>
                    </a:lnTo>
                    <a:lnTo>
                      <a:pt x="1476" y="1889"/>
                    </a:lnTo>
                    <a:lnTo>
                      <a:pt x="1479" y="1850"/>
                    </a:lnTo>
                    <a:lnTo>
                      <a:pt x="1483" y="1808"/>
                    </a:lnTo>
                    <a:lnTo>
                      <a:pt x="1490" y="1762"/>
                    </a:lnTo>
                    <a:lnTo>
                      <a:pt x="1493" y="1749"/>
                    </a:lnTo>
                    <a:lnTo>
                      <a:pt x="1499" y="1735"/>
                    </a:lnTo>
                    <a:lnTo>
                      <a:pt x="1504" y="1723"/>
                    </a:lnTo>
                    <a:lnTo>
                      <a:pt x="1509" y="1710"/>
                    </a:lnTo>
                    <a:lnTo>
                      <a:pt x="1516" y="1698"/>
                    </a:lnTo>
                    <a:lnTo>
                      <a:pt x="1523" y="1686"/>
                    </a:lnTo>
                    <a:lnTo>
                      <a:pt x="1530" y="1675"/>
                    </a:lnTo>
                    <a:lnTo>
                      <a:pt x="1538" y="1664"/>
                    </a:lnTo>
                    <a:lnTo>
                      <a:pt x="1554" y="1642"/>
                    </a:lnTo>
                    <a:lnTo>
                      <a:pt x="1572" y="1623"/>
                    </a:lnTo>
                    <a:lnTo>
                      <a:pt x="1590" y="1604"/>
                    </a:lnTo>
                    <a:lnTo>
                      <a:pt x="1610" y="1587"/>
                    </a:lnTo>
                    <a:lnTo>
                      <a:pt x="1629" y="1570"/>
                    </a:lnTo>
                    <a:lnTo>
                      <a:pt x="1650" y="1555"/>
                    </a:lnTo>
                    <a:lnTo>
                      <a:pt x="1670" y="1542"/>
                    </a:lnTo>
                    <a:lnTo>
                      <a:pt x="1690" y="1529"/>
                    </a:lnTo>
                    <a:lnTo>
                      <a:pt x="1729" y="1507"/>
                    </a:lnTo>
                    <a:lnTo>
                      <a:pt x="1762" y="1490"/>
                    </a:lnTo>
                    <a:lnTo>
                      <a:pt x="1762" y="776"/>
                    </a:lnTo>
                    <a:lnTo>
                      <a:pt x="420" y="0"/>
                    </a:lnTo>
                    <a:lnTo>
                      <a:pt x="398" y="1"/>
                    </a:lnTo>
                    <a:lnTo>
                      <a:pt x="379" y="3"/>
                    </a:lnTo>
                    <a:lnTo>
                      <a:pt x="363" y="6"/>
                    </a:lnTo>
                    <a:lnTo>
                      <a:pt x="349" y="11"/>
                    </a:lnTo>
                    <a:lnTo>
                      <a:pt x="336" y="14"/>
                    </a:lnTo>
                    <a:lnTo>
                      <a:pt x="322" y="17"/>
                    </a:lnTo>
                    <a:lnTo>
                      <a:pt x="309" y="19"/>
                    </a:lnTo>
                    <a:lnTo>
                      <a:pt x="293" y="20"/>
                    </a:lnTo>
                    <a:lnTo>
                      <a:pt x="285" y="30"/>
                    </a:lnTo>
                    <a:lnTo>
                      <a:pt x="265" y="52"/>
                    </a:lnTo>
                    <a:lnTo>
                      <a:pt x="255" y="64"/>
                    </a:lnTo>
                    <a:lnTo>
                      <a:pt x="250" y="74"/>
                    </a:lnTo>
                    <a:lnTo>
                      <a:pt x="247" y="78"/>
                    </a:lnTo>
                    <a:lnTo>
                      <a:pt x="247" y="82"/>
                    </a:lnTo>
                    <a:lnTo>
                      <a:pt x="249" y="83"/>
                    </a:lnTo>
                    <a:lnTo>
                      <a:pt x="252" y="84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29" name="Freeform 257"/>
              <p:cNvSpPr>
                <a:spLocks/>
              </p:cNvSpPr>
              <p:nvPr/>
            </p:nvSpPr>
            <p:spPr bwMode="auto">
              <a:xfrm>
                <a:off x="1739" y="1894"/>
                <a:ext cx="222" cy="172"/>
              </a:xfrm>
              <a:custGeom>
                <a:avLst/>
                <a:gdLst/>
                <a:ahLst/>
                <a:cxnLst>
                  <a:cxn ang="0">
                    <a:pos x="600" y="799"/>
                  </a:cxn>
                  <a:cxn ang="0">
                    <a:pos x="480" y="789"/>
                  </a:cxn>
                  <a:cxn ang="0">
                    <a:pos x="352" y="798"/>
                  </a:cxn>
                  <a:cxn ang="0">
                    <a:pos x="235" y="828"/>
                  </a:cxn>
                  <a:cxn ang="0">
                    <a:pos x="91" y="859"/>
                  </a:cxn>
                  <a:cxn ang="0">
                    <a:pos x="74" y="852"/>
                  </a:cxn>
                  <a:cxn ang="0">
                    <a:pos x="68" y="840"/>
                  </a:cxn>
                  <a:cxn ang="0">
                    <a:pos x="74" y="813"/>
                  </a:cxn>
                  <a:cxn ang="0">
                    <a:pos x="101" y="751"/>
                  </a:cxn>
                  <a:cxn ang="0">
                    <a:pos x="157" y="733"/>
                  </a:cxn>
                  <a:cxn ang="0">
                    <a:pos x="283" y="713"/>
                  </a:cxn>
                  <a:cxn ang="0">
                    <a:pos x="411" y="693"/>
                  </a:cxn>
                  <a:cxn ang="0">
                    <a:pos x="521" y="696"/>
                  </a:cxn>
                  <a:cxn ang="0">
                    <a:pos x="624" y="701"/>
                  </a:cxn>
                  <a:cxn ang="0">
                    <a:pos x="671" y="692"/>
                  </a:cxn>
                  <a:cxn ang="0">
                    <a:pos x="663" y="653"/>
                  </a:cxn>
                  <a:cxn ang="0">
                    <a:pos x="639" y="629"/>
                  </a:cxn>
                  <a:cxn ang="0">
                    <a:pos x="588" y="613"/>
                  </a:cxn>
                  <a:cxn ang="0">
                    <a:pos x="483" y="608"/>
                  </a:cxn>
                  <a:cxn ang="0">
                    <a:pos x="294" y="605"/>
                  </a:cxn>
                  <a:cxn ang="0">
                    <a:pos x="206" y="617"/>
                  </a:cxn>
                  <a:cxn ang="0">
                    <a:pos x="105" y="650"/>
                  </a:cxn>
                  <a:cxn ang="0">
                    <a:pos x="135" y="562"/>
                  </a:cxn>
                  <a:cxn ang="0">
                    <a:pos x="127" y="530"/>
                  </a:cxn>
                  <a:cxn ang="0">
                    <a:pos x="73" y="507"/>
                  </a:cxn>
                  <a:cxn ang="0">
                    <a:pos x="40" y="483"/>
                  </a:cxn>
                  <a:cxn ang="0">
                    <a:pos x="29" y="460"/>
                  </a:cxn>
                  <a:cxn ang="0">
                    <a:pos x="6" y="442"/>
                  </a:cxn>
                  <a:cxn ang="0">
                    <a:pos x="0" y="420"/>
                  </a:cxn>
                  <a:cxn ang="0">
                    <a:pos x="17" y="362"/>
                  </a:cxn>
                  <a:cxn ang="0">
                    <a:pos x="57" y="291"/>
                  </a:cxn>
                  <a:cxn ang="0">
                    <a:pos x="147" y="146"/>
                  </a:cxn>
                  <a:cxn ang="0">
                    <a:pos x="163" y="122"/>
                  </a:cxn>
                  <a:cxn ang="0">
                    <a:pos x="166" y="130"/>
                  </a:cxn>
                  <a:cxn ang="0">
                    <a:pos x="162" y="153"/>
                  </a:cxn>
                  <a:cxn ang="0">
                    <a:pos x="196" y="101"/>
                  </a:cxn>
                  <a:cxn ang="0">
                    <a:pos x="362" y="53"/>
                  </a:cxn>
                  <a:cxn ang="0">
                    <a:pos x="525" y="0"/>
                  </a:cxn>
                  <a:cxn ang="0">
                    <a:pos x="572" y="39"/>
                  </a:cxn>
                  <a:cxn ang="0">
                    <a:pos x="622" y="66"/>
                  </a:cxn>
                  <a:cxn ang="0">
                    <a:pos x="675" y="80"/>
                  </a:cxn>
                  <a:cxn ang="0">
                    <a:pos x="734" y="84"/>
                  </a:cxn>
                  <a:cxn ang="0">
                    <a:pos x="741" y="148"/>
                  </a:cxn>
                  <a:cxn ang="0">
                    <a:pos x="758" y="204"/>
                  </a:cxn>
                  <a:cxn ang="0">
                    <a:pos x="784" y="250"/>
                  </a:cxn>
                  <a:cxn ang="0">
                    <a:pos x="850" y="321"/>
                  </a:cxn>
                  <a:cxn ang="0">
                    <a:pos x="945" y="398"/>
                  </a:cxn>
                  <a:cxn ang="0">
                    <a:pos x="1086" y="765"/>
                  </a:cxn>
                  <a:cxn ang="0">
                    <a:pos x="1094" y="816"/>
                  </a:cxn>
                  <a:cxn ang="0">
                    <a:pos x="1075" y="850"/>
                  </a:cxn>
                  <a:cxn ang="0">
                    <a:pos x="912" y="822"/>
                  </a:cxn>
                  <a:cxn ang="0">
                    <a:pos x="757" y="813"/>
                  </a:cxn>
                </a:cxnLst>
                <a:rect l="0" t="0" r="r" b="b"/>
                <a:pathLst>
                  <a:path w="1112" h="860">
                    <a:moveTo>
                      <a:pt x="671" y="818"/>
                    </a:moveTo>
                    <a:lnTo>
                      <a:pt x="650" y="811"/>
                    </a:lnTo>
                    <a:lnTo>
                      <a:pt x="626" y="805"/>
                    </a:lnTo>
                    <a:lnTo>
                      <a:pt x="600" y="799"/>
                    </a:lnTo>
                    <a:lnTo>
                      <a:pt x="573" y="795"/>
                    </a:lnTo>
                    <a:lnTo>
                      <a:pt x="544" y="792"/>
                    </a:lnTo>
                    <a:lnTo>
                      <a:pt x="513" y="789"/>
                    </a:lnTo>
                    <a:lnTo>
                      <a:pt x="480" y="789"/>
                    </a:lnTo>
                    <a:lnTo>
                      <a:pt x="449" y="789"/>
                    </a:lnTo>
                    <a:lnTo>
                      <a:pt x="416" y="790"/>
                    </a:lnTo>
                    <a:lnTo>
                      <a:pt x="383" y="794"/>
                    </a:lnTo>
                    <a:lnTo>
                      <a:pt x="352" y="798"/>
                    </a:lnTo>
                    <a:lnTo>
                      <a:pt x="320" y="804"/>
                    </a:lnTo>
                    <a:lnTo>
                      <a:pt x="291" y="810"/>
                    </a:lnTo>
                    <a:lnTo>
                      <a:pt x="261" y="819"/>
                    </a:lnTo>
                    <a:lnTo>
                      <a:pt x="235" y="828"/>
                    </a:lnTo>
                    <a:lnTo>
                      <a:pt x="210" y="840"/>
                    </a:lnTo>
                    <a:lnTo>
                      <a:pt x="105" y="860"/>
                    </a:lnTo>
                    <a:lnTo>
                      <a:pt x="98" y="860"/>
                    </a:lnTo>
                    <a:lnTo>
                      <a:pt x="91" y="859"/>
                    </a:lnTo>
                    <a:lnTo>
                      <a:pt x="86" y="858"/>
                    </a:lnTo>
                    <a:lnTo>
                      <a:pt x="81" y="856"/>
                    </a:lnTo>
                    <a:lnTo>
                      <a:pt x="77" y="855"/>
                    </a:lnTo>
                    <a:lnTo>
                      <a:pt x="74" y="852"/>
                    </a:lnTo>
                    <a:lnTo>
                      <a:pt x="72" y="849"/>
                    </a:lnTo>
                    <a:lnTo>
                      <a:pt x="69" y="846"/>
                    </a:lnTo>
                    <a:lnTo>
                      <a:pt x="68" y="843"/>
                    </a:lnTo>
                    <a:lnTo>
                      <a:pt x="68" y="840"/>
                    </a:lnTo>
                    <a:lnTo>
                      <a:pt x="67" y="835"/>
                    </a:lnTo>
                    <a:lnTo>
                      <a:pt x="68" y="831"/>
                    </a:lnTo>
                    <a:lnTo>
                      <a:pt x="71" y="822"/>
                    </a:lnTo>
                    <a:lnTo>
                      <a:pt x="74" y="813"/>
                    </a:lnTo>
                    <a:lnTo>
                      <a:pt x="83" y="793"/>
                    </a:lnTo>
                    <a:lnTo>
                      <a:pt x="93" y="772"/>
                    </a:lnTo>
                    <a:lnTo>
                      <a:pt x="98" y="761"/>
                    </a:lnTo>
                    <a:lnTo>
                      <a:pt x="101" y="751"/>
                    </a:lnTo>
                    <a:lnTo>
                      <a:pt x="104" y="743"/>
                    </a:lnTo>
                    <a:lnTo>
                      <a:pt x="105" y="734"/>
                    </a:lnTo>
                    <a:lnTo>
                      <a:pt x="132" y="734"/>
                    </a:lnTo>
                    <a:lnTo>
                      <a:pt x="157" y="733"/>
                    </a:lnTo>
                    <a:lnTo>
                      <a:pt x="180" y="731"/>
                    </a:lnTo>
                    <a:lnTo>
                      <a:pt x="202" y="727"/>
                    </a:lnTo>
                    <a:lnTo>
                      <a:pt x="244" y="721"/>
                    </a:lnTo>
                    <a:lnTo>
                      <a:pt x="283" y="713"/>
                    </a:lnTo>
                    <a:lnTo>
                      <a:pt x="323" y="705"/>
                    </a:lnTo>
                    <a:lnTo>
                      <a:pt x="365" y="699"/>
                    </a:lnTo>
                    <a:lnTo>
                      <a:pt x="387" y="696"/>
                    </a:lnTo>
                    <a:lnTo>
                      <a:pt x="411" y="693"/>
                    </a:lnTo>
                    <a:lnTo>
                      <a:pt x="436" y="692"/>
                    </a:lnTo>
                    <a:lnTo>
                      <a:pt x="462" y="692"/>
                    </a:lnTo>
                    <a:lnTo>
                      <a:pt x="492" y="693"/>
                    </a:lnTo>
                    <a:lnTo>
                      <a:pt x="521" y="696"/>
                    </a:lnTo>
                    <a:lnTo>
                      <a:pt x="548" y="698"/>
                    </a:lnTo>
                    <a:lnTo>
                      <a:pt x="574" y="700"/>
                    </a:lnTo>
                    <a:lnTo>
                      <a:pt x="599" y="701"/>
                    </a:lnTo>
                    <a:lnTo>
                      <a:pt x="624" y="701"/>
                    </a:lnTo>
                    <a:lnTo>
                      <a:pt x="636" y="700"/>
                    </a:lnTo>
                    <a:lnTo>
                      <a:pt x="648" y="698"/>
                    </a:lnTo>
                    <a:lnTo>
                      <a:pt x="660" y="696"/>
                    </a:lnTo>
                    <a:lnTo>
                      <a:pt x="671" y="692"/>
                    </a:lnTo>
                    <a:lnTo>
                      <a:pt x="671" y="677"/>
                    </a:lnTo>
                    <a:lnTo>
                      <a:pt x="668" y="664"/>
                    </a:lnTo>
                    <a:lnTo>
                      <a:pt x="666" y="659"/>
                    </a:lnTo>
                    <a:lnTo>
                      <a:pt x="663" y="653"/>
                    </a:lnTo>
                    <a:lnTo>
                      <a:pt x="660" y="649"/>
                    </a:lnTo>
                    <a:lnTo>
                      <a:pt x="657" y="643"/>
                    </a:lnTo>
                    <a:lnTo>
                      <a:pt x="649" y="636"/>
                    </a:lnTo>
                    <a:lnTo>
                      <a:pt x="639" y="629"/>
                    </a:lnTo>
                    <a:lnTo>
                      <a:pt x="629" y="624"/>
                    </a:lnTo>
                    <a:lnTo>
                      <a:pt x="617" y="618"/>
                    </a:lnTo>
                    <a:lnTo>
                      <a:pt x="603" y="615"/>
                    </a:lnTo>
                    <a:lnTo>
                      <a:pt x="588" y="613"/>
                    </a:lnTo>
                    <a:lnTo>
                      <a:pt x="573" y="611"/>
                    </a:lnTo>
                    <a:lnTo>
                      <a:pt x="557" y="610"/>
                    </a:lnTo>
                    <a:lnTo>
                      <a:pt x="521" y="608"/>
                    </a:lnTo>
                    <a:lnTo>
                      <a:pt x="483" y="608"/>
                    </a:lnTo>
                    <a:lnTo>
                      <a:pt x="430" y="607"/>
                    </a:lnTo>
                    <a:lnTo>
                      <a:pt x="382" y="606"/>
                    </a:lnTo>
                    <a:lnTo>
                      <a:pt x="338" y="605"/>
                    </a:lnTo>
                    <a:lnTo>
                      <a:pt x="294" y="605"/>
                    </a:lnTo>
                    <a:lnTo>
                      <a:pt x="272" y="607"/>
                    </a:lnTo>
                    <a:lnTo>
                      <a:pt x="250" y="610"/>
                    </a:lnTo>
                    <a:lnTo>
                      <a:pt x="229" y="613"/>
                    </a:lnTo>
                    <a:lnTo>
                      <a:pt x="206" y="617"/>
                    </a:lnTo>
                    <a:lnTo>
                      <a:pt x="182" y="623"/>
                    </a:lnTo>
                    <a:lnTo>
                      <a:pt x="158" y="630"/>
                    </a:lnTo>
                    <a:lnTo>
                      <a:pt x="132" y="639"/>
                    </a:lnTo>
                    <a:lnTo>
                      <a:pt x="105" y="650"/>
                    </a:lnTo>
                    <a:lnTo>
                      <a:pt x="117" y="611"/>
                    </a:lnTo>
                    <a:lnTo>
                      <a:pt x="126" y="582"/>
                    </a:lnTo>
                    <a:lnTo>
                      <a:pt x="131" y="571"/>
                    </a:lnTo>
                    <a:lnTo>
                      <a:pt x="135" y="562"/>
                    </a:lnTo>
                    <a:lnTo>
                      <a:pt x="140" y="553"/>
                    </a:lnTo>
                    <a:lnTo>
                      <a:pt x="147" y="545"/>
                    </a:lnTo>
                    <a:lnTo>
                      <a:pt x="138" y="538"/>
                    </a:lnTo>
                    <a:lnTo>
                      <a:pt x="127" y="530"/>
                    </a:lnTo>
                    <a:lnTo>
                      <a:pt x="115" y="522"/>
                    </a:lnTo>
                    <a:lnTo>
                      <a:pt x="102" y="517"/>
                    </a:lnTo>
                    <a:lnTo>
                      <a:pt x="88" y="511"/>
                    </a:lnTo>
                    <a:lnTo>
                      <a:pt x="73" y="507"/>
                    </a:lnTo>
                    <a:lnTo>
                      <a:pt x="57" y="504"/>
                    </a:lnTo>
                    <a:lnTo>
                      <a:pt x="42" y="504"/>
                    </a:lnTo>
                    <a:lnTo>
                      <a:pt x="41" y="493"/>
                    </a:lnTo>
                    <a:lnTo>
                      <a:pt x="40" y="483"/>
                    </a:lnTo>
                    <a:lnTo>
                      <a:pt x="38" y="475"/>
                    </a:lnTo>
                    <a:lnTo>
                      <a:pt x="36" y="470"/>
                    </a:lnTo>
                    <a:lnTo>
                      <a:pt x="32" y="465"/>
                    </a:lnTo>
                    <a:lnTo>
                      <a:pt x="29" y="460"/>
                    </a:lnTo>
                    <a:lnTo>
                      <a:pt x="25" y="457"/>
                    </a:lnTo>
                    <a:lnTo>
                      <a:pt x="22" y="454"/>
                    </a:lnTo>
                    <a:lnTo>
                      <a:pt x="14" y="448"/>
                    </a:lnTo>
                    <a:lnTo>
                      <a:pt x="6" y="442"/>
                    </a:lnTo>
                    <a:lnTo>
                      <a:pt x="4" y="437"/>
                    </a:lnTo>
                    <a:lnTo>
                      <a:pt x="2" y="433"/>
                    </a:lnTo>
                    <a:lnTo>
                      <a:pt x="1" y="426"/>
                    </a:lnTo>
                    <a:lnTo>
                      <a:pt x="0" y="420"/>
                    </a:lnTo>
                    <a:lnTo>
                      <a:pt x="1" y="407"/>
                    </a:lnTo>
                    <a:lnTo>
                      <a:pt x="5" y="393"/>
                    </a:lnTo>
                    <a:lnTo>
                      <a:pt x="11" y="378"/>
                    </a:lnTo>
                    <a:lnTo>
                      <a:pt x="17" y="362"/>
                    </a:lnTo>
                    <a:lnTo>
                      <a:pt x="26" y="345"/>
                    </a:lnTo>
                    <a:lnTo>
                      <a:pt x="36" y="327"/>
                    </a:lnTo>
                    <a:lnTo>
                      <a:pt x="47" y="310"/>
                    </a:lnTo>
                    <a:lnTo>
                      <a:pt x="57" y="291"/>
                    </a:lnTo>
                    <a:lnTo>
                      <a:pt x="83" y="253"/>
                    </a:lnTo>
                    <a:lnTo>
                      <a:pt x="107" y="216"/>
                    </a:lnTo>
                    <a:lnTo>
                      <a:pt x="128" y="180"/>
                    </a:lnTo>
                    <a:lnTo>
                      <a:pt x="147" y="146"/>
                    </a:lnTo>
                    <a:lnTo>
                      <a:pt x="154" y="133"/>
                    </a:lnTo>
                    <a:lnTo>
                      <a:pt x="159" y="126"/>
                    </a:lnTo>
                    <a:lnTo>
                      <a:pt x="161" y="123"/>
                    </a:lnTo>
                    <a:lnTo>
                      <a:pt x="163" y="122"/>
                    </a:lnTo>
                    <a:lnTo>
                      <a:pt x="164" y="122"/>
                    </a:lnTo>
                    <a:lnTo>
                      <a:pt x="165" y="122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6" y="135"/>
                    </a:lnTo>
                    <a:lnTo>
                      <a:pt x="165" y="141"/>
                    </a:lnTo>
                    <a:lnTo>
                      <a:pt x="163" y="151"/>
                    </a:lnTo>
                    <a:lnTo>
                      <a:pt x="162" y="153"/>
                    </a:lnTo>
                    <a:lnTo>
                      <a:pt x="163" y="139"/>
                    </a:lnTo>
                    <a:lnTo>
                      <a:pt x="168" y="105"/>
                    </a:lnTo>
                    <a:lnTo>
                      <a:pt x="178" y="104"/>
                    </a:lnTo>
                    <a:lnTo>
                      <a:pt x="196" y="101"/>
                    </a:lnTo>
                    <a:lnTo>
                      <a:pt x="217" y="95"/>
                    </a:lnTo>
                    <a:lnTo>
                      <a:pt x="242" y="89"/>
                    </a:lnTo>
                    <a:lnTo>
                      <a:pt x="299" y="71"/>
                    </a:lnTo>
                    <a:lnTo>
                      <a:pt x="362" y="53"/>
                    </a:lnTo>
                    <a:lnTo>
                      <a:pt x="423" y="33"/>
                    </a:lnTo>
                    <a:lnTo>
                      <a:pt x="475" y="17"/>
                    </a:lnTo>
                    <a:lnTo>
                      <a:pt x="511" y="5"/>
                    </a:lnTo>
                    <a:lnTo>
                      <a:pt x="525" y="0"/>
                    </a:lnTo>
                    <a:lnTo>
                      <a:pt x="536" y="11"/>
                    </a:lnTo>
                    <a:lnTo>
                      <a:pt x="548" y="21"/>
                    </a:lnTo>
                    <a:lnTo>
                      <a:pt x="560" y="31"/>
                    </a:lnTo>
                    <a:lnTo>
                      <a:pt x="572" y="39"/>
                    </a:lnTo>
                    <a:lnTo>
                      <a:pt x="584" y="47"/>
                    </a:lnTo>
                    <a:lnTo>
                      <a:pt x="597" y="54"/>
                    </a:lnTo>
                    <a:lnTo>
                      <a:pt x="609" y="60"/>
                    </a:lnTo>
                    <a:lnTo>
                      <a:pt x="622" y="66"/>
                    </a:lnTo>
                    <a:lnTo>
                      <a:pt x="635" y="70"/>
                    </a:lnTo>
                    <a:lnTo>
                      <a:pt x="648" y="73"/>
                    </a:lnTo>
                    <a:lnTo>
                      <a:pt x="661" y="77"/>
                    </a:lnTo>
                    <a:lnTo>
                      <a:pt x="675" y="80"/>
                    </a:lnTo>
                    <a:lnTo>
                      <a:pt x="690" y="81"/>
                    </a:lnTo>
                    <a:lnTo>
                      <a:pt x="704" y="83"/>
                    </a:lnTo>
                    <a:lnTo>
                      <a:pt x="719" y="83"/>
                    </a:lnTo>
                    <a:lnTo>
                      <a:pt x="734" y="84"/>
                    </a:lnTo>
                    <a:lnTo>
                      <a:pt x="735" y="101"/>
                    </a:lnTo>
                    <a:lnTo>
                      <a:pt x="736" y="118"/>
                    </a:lnTo>
                    <a:lnTo>
                      <a:pt x="739" y="133"/>
                    </a:lnTo>
                    <a:lnTo>
                      <a:pt x="741" y="148"/>
                    </a:lnTo>
                    <a:lnTo>
                      <a:pt x="744" y="164"/>
                    </a:lnTo>
                    <a:lnTo>
                      <a:pt x="748" y="178"/>
                    </a:lnTo>
                    <a:lnTo>
                      <a:pt x="753" y="191"/>
                    </a:lnTo>
                    <a:lnTo>
                      <a:pt x="758" y="204"/>
                    </a:lnTo>
                    <a:lnTo>
                      <a:pt x="764" y="216"/>
                    </a:lnTo>
                    <a:lnTo>
                      <a:pt x="770" y="228"/>
                    </a:lnTo>
                    <a:lnTo>
                      <a:pt x="777" y="239"/>
                    </a:lnTo>
                    <a:lnTo>
                      <a:pt x="784" y="250"/>
                    </a:lnTo>
                    <a:lnTo>
                      <a:pt x="800" y="269"/>
                    </a:lnTo>
                    <a:lnTo>
                      <a:pt x="816" y="288"/>
                    </a:lnTo>
                    <a:lnTo>
                      <a:pt x="832" y="305"/>
                    </a:lnTo>
                    <a:lnTo>
                      <a:pt x="850" y="321"/>
                    </a:lnTo>
                    <a:lnTo>
                      <a:pt x="867" y="336"/>
                    </a:lnTo>
                    <a:lnTo>
                      <a:pt x="885" y="349"/>
                    </a:lnTo>
                    <a:lnTo>
                      <a:pt x="917" y="374"/>
                    </a:lnTo>
                    <a:lnTo>
                      <a:pt x="945" y="398"/>
                    </a:lnTo>
                    <a:lnTo>
                      <a:pt x="945" y="672"/>
                    </a:lnTo>
                    <a:lnTo>
                      <a:pt x="1091" y="756"/>
                    </a:lnTo>
                    <a:lnTo>
                      <a:pt x="1087" y="760"/>
                    </a:lnTo>
                    <a:lnTo>
                      <a:pt x="1086" y="765"/>
                    </a:lnTo>
                    <a:lnTo>
                      <a:pt x="1085" y="773"/>
                    </a:lnTo>
                    <a:lnTo>
                      <a:pt x="1085" y="781"/>
                    </a:lnTo>
                    <a:lnTo>
                      <a:pt x="1088" y="797"/>
                    </a:lnTo>
                    <a:lnTo>
                      <a:pt x="1094" y="816"/>
                    </a:lnTo>
                    <a:lnTo>
                      <a:pt x="1106" y="847"/>
                    </a:lnTo>
                    <a:lnTo>
                      <a:pt x="1112" y="860"/>
                    </a:lnTo>
                    <a:lnTo>
                      <a:pt x="1103" y="857"/>
                    </a:lnTo>
                    <a:lnTo>
                      <a:pt x="1075" y="850"/>
                    </a:lnTo>
                    <a:lnTo>
                      <a:pt x="1034" y="842"/>
                    </a:lnTo>
                    <a:lnTo>
                      <a:pt x="978" y="831"/>
                    </a:lnTo>
                    <a:lnTo>
                      <a:pt x="947" y="826"/>
                    </a:lnTo>
                    <a:lnTo>
                      <a:pt x="912" y="822"/>
                    </a:lnTo>
                    <a:lnTo>
                      <a:pt x="876" y="819"/>
                    </a:lnTo>
                    <a:lnTo>
                      <a:pt x="838" y="816"/>
                    </a:lnTo>
                    <a:lnTo>
                      <a:pt x="797" y="814"/>
                    </a:lnTo>
                    <a:lnTo>
                      <a:pt x="757" y="813"/>
                    </a:lnTo>
                    <a:lnTo>
                      <a:pt x="715" y="816"/>
                    </a:lnTo>
                    <a:lnTo>
                      <a:pt x="671" y="818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0" name="Freeform 258"/>
              <p:cNvSpPr>
                <a:spLocks/>
              </p:cNvSpPr>
              <p:nvPr/>
            </p:nvSpPr>
            <p:spPr bwMode="auto">
              <a:xfrm>
                <a:off x="1739" y="1894"/>
                <a:ext cx="222" cy="172"/>
              </a:xfrm>
              <a:custGeom>
                <a:avLst/>
                <a:gdLst/>
                <a:ahLst/>
                <a:cxnLst>
                  <a:cxn ang="0">
                    <a:pos x="600" y="799"/>
                  </a:cxn>
                  <a:cxn ang="0">
                    <a:pos x="480" y="789"/>
                  </a:cxn>
                  <a:cxn ang="0">
                    <a:pos x="352" y="798"/>
                  </a:cxn>
                  <a:cxn ang="0">
                    <a:pos x="235" y="828"/>
                  </a:cxn>
                  <a:cxn ang="0">
                    <a:pos x="91" y="859"/>
                  </a:cxn>
                  <a:cxn ang="0">
                    <a:pos x="74" y="852"/>
                  </a:cxn>
                  <a:cxn ang="0">
                    <a:pos x="68" y="840"/>
                  </a:cxn>
                  <a:cxn ang="0">
                    <a:pos x="74" y="813"/>
                  </a:cxn>
                  <a:cxn ang="0">
                    <a:pos x="101" y="751"/>
                  </a:cxn>
                  <a:cxn ang="0">
                    <a:pos x="157" y="733"/>
                  </a:cxn>
                  <a:cxn ang="0">
                    <a:pos x="283" y="713"/>
                  </a:cxn>
                  <a:cxn ang="0">
                    <a:pos x="411" y="693"/>
                  </a:cxn>
                  <a:cxn ang="0">
                    <a:pos x="521" y="696"/>
                  </a:cxn>
                  <a:cxn ang="0">
                    <a:pos x="624" y="701"/>
                  </a:cxn>
                  <a:cxn ang="0">
                    <a:pos x="671" y="692"/>
                  </a:cxn>
                  <a:cxn ang="0">
                    <a:pos x="663" y="653"/>
                  </a:cxn>
                  <a:cxn ang="0">
                    <a:pos x="639" y="629"/>
                  </a:cxn>
                  <a:cxn ang="0">
                    <a:pos x="588" y="613"/>
                  </a:cxn>
                  <a:cxn ang="0">
                    <a:pos x="483" y="608"/>
                  </a:cxn>
                  <a:cxn ang="0">
                    <a:pos x="294" y="605"/>
                  </a:cxn>
                  <a:cxn ang="0">
                    <a:pos x="206" y="617"/>
                  </a:cxn>
                  <a:cxn ang="0">
                    <a:pos x="105" y="650"/>
                  </a:cxn>
                  <a:cxn ang="0">
                    <a:pos x="135" y="562"/>
                  </a:cxn>
                  <a:cxn ang="0">
                    <a:pos x="127" y="530"/>
                  </a:cxn>
                  <a:cxn ang="0">
                    <a:pos x="73" y="507"/>
                  </a:cxn>
                  <a:cxn ang="0">
                    <a:pos x="40" y="483"/>
                  </a:cxn>
                  <a:cxn ang="0">
                    <a:pos x="29" y="460"/>
                  </a:cxn>
                  <a:cxn ang="0">
                    <a:pos x="6" y="442"/>
                  </a:cxn>
                  <a:cxn ang="0">
                    <a:pos x="0" y="420"/>
                  </a:cxn>
                  <a:cxn ang="0">
                    <a:pos x="17" y="362"/>
                  </a:cxn>
                  <a:cxn ang="0">
                    <a:pos x="57" y="291"/>
                  </a:cxn>
                  <a:cxn ang="0">
                    <a:pos x="147" y="146"/>
                  </a:cxn>
                  <a:cxn ang="0">
                    <a:pos x="163" y="122"/>
                  </a:cxn>
                  <a:cxn ang="0">
                    <a:pos x="166" y="130"/>
                  </a:cxn>
                  <a:cxn ang="0">
                    <a:pos x="162" y="153"/>
                  </a:cxn>
                  <a:cxn ang="0">
                    <a:pos x="196" y="101"/>
                  </a:cxn>
                  <a:cxn ang="0">
                    <a:pos x="362" y="53"/>
                  </a:cxn>
                  <a:cxn ang="0">
                    <a:pos x="525" y="0"/>
                  </a:cxn>
                  <a:cxn ang="0">
                    <a:pos x="572" y="39"/>
                  </a:cxn>
                  <a:cxn ang="0">
                    <a:pos x="622" y="66"/>
                  </a:cxn>
                  <a:cxn ang="0">
                    <a:pos x="675" y="80"/>
                  </a:cxn>
                  <a:cxn ang="0">
                    <a:pos x="734" y="84"/>
                  </a:cxn>
                  <a:cxn ang="0">
                    <a:pos x="741" y="148"/>
                  </a:cxn>
                  <a:cxn ang="0">
                    <a:pos x="758" y="204"/>
                  </a:cxn>
                  <a:cxn ang="0">
                    <a:pos x="784" y="250"/>
                  </a:cxn>
                  <a:cxn ang="0">
                    <a:pos x="850" y="321"/>
                  </a:cxn>
                  <a:cxn ang="0">
                    <a:pos x="945" y="398"/>
                  </a:cxn>
                  <a:cxn ang="0">
                    <a:pos x="1086" y="765"/>
                  </a:cxn>
                  <a:cxn ang="0">
                    <a:pos x="1094" y="816"/>
                  </a:cxn>
                  <a:cxn ang="0">
                    <a:pos x="1075" y="850"/>
                  </a:cxn>
                  <a:cxn ang="0">
                    <a:pos x="912" y="822"/>
                  </a:cxn>
                  <a:cxn ang="0">
                    <a:pos x="757" y="813"/>
                  </a:cxn>
                </a:cxnLst>
                <a:rect l="0" t="0" r="r" b="b"/>
                <a:pathLst>
                  <a:path w="1112" h="860">
                    <a:moveTo>
                      <a:pt x="671" y="818"/>
                    </a:moveTo>
                    <a:lnTo>
                      <a:pt x="650" y="811"/>
                    </a:lnTo>
                    <a:lnTo>
                      <a:pt x="626" y="805"/>
                    </a:lnTo>
                    <a:lnTo>
                      <a:pt x="600" y="799"/>
                    </a:lnTo>
                    <a:lnTo>
                      <a:pt x="573" y="795"/>
                    </a:lnTo>
                    <a:lnTo>
                      <a:pt x="544" y="792"/>
                    </a:lnTo>
                    <a:lnTo>
                      <a:pt x="513" y="789"/>
                    </a:lnTo>
                    <a:lnTo>
                      <a:pt x="480" y="789"/>
                    </a:lnTo>
                    <a:lnTo>
                      <a:pt x="449" y="789"/>
                    </a:lnTo>
                    <a:lnTo>
                      <a:pt x="416" y="790"/>
                    </a:lnTo>
                    <a:lnTo>
                      <a:pt x="383" y="794"/>
                    </a:lnTo>
                    <a:lnTo>
                      <a:pt x="352" y="798"/>
                    </a:lnTo>
                    <a:lnTo>
                      <a:pt x="320" y="804"/>
                    </a:lnTo>
                    <a:lnTo>
                      <a:pt x="291" y="810"/>
                    </a:lnTo>
                    <a:lnTo>
                      <a:pt x="261" y="819"/>
                    </a:lnTo>
                    <a:lnTo>
                      <a:pt x="235" y="828"/>
                    </a:lnTo>
                    <a:lnTo>
                      <a:pt x="210" y="840"/>
                    </a:lnTo>
                    <a:lnTo>
                      <a:pt x="105" y="860"/>
                    </a:lnTo>
                    <a:lnTo>
                      <a:pt x="98" y="860"/>
                    </a:lnTo>
                    <a:lnTo>
                      <a:pt x="91" y="859"/>
                    </a:lnTo>
                    <a:lnTo>
                      <a:pt x="86" y="858"/>
                    </a:lnTo>
                    <a:lnTo>
                      <a:pt x="81" y="856"/>
                    </a:lnTo>
                    <a:lnTo>
                      <a:pt x="77" y="855"/>
                    </a:lnTo>
                    <a:lnTo>
                      <a:pt x="74" y="852"/>
                    </a:lnTo>
                    <a:lnTo>
                      <a:pt x="72" y="849"/>
                    </a:lnTo>
                    <a:lnTo>
                      <a:pt x="69" y="846"/>
                    </a:lnTo>
                    <a:lnTo>
                      <a:pt x="68" y="843"/>
                    </a:lnTo>
                    <a:lnTo>
                      <a:pt x="68" y="840"/>
                    </a:lnTo>
                    <a:lnTo>
                      <a:pt x="67" y="835"/>
                    </a:lnTo>
                    <a:lnTo>
                      <a:pt x="68" y="831"/>
                    </a:lnTo>
                    <a:lnTo>
                      <a:pt x="71" y="822"/>
                    </a:lnTo>
                    <a:lnTo>
                      <a:pt x="74" y="813"/>
                    </a:lnTo>
                    <a:lnTo>
                      <a:pt x="83" y="793"/>
                    </a:lnTo>
                    <a:lnTo>
                      <a:pt x="93" y="772"/>
                    </a:lnTo>
                    <a:lnTo>
                      <a:pt x="98" y="761"/>
                    </a:lnTo>
                    <a:lnTo>
                      <a:pt x="101" y="751"/>
                    </a:lnTo>
                    <a:lnTo>
                      <a:pt x="104" y="743"/>
                    </a:lnTo>
                    <a:lnTo>
                      <a:pt x="105" y="734"/>
                    </a:lnTo>
                    <a:lnTo>
                      <a:pt x="132" y="734"/>
                    </a:lnTo>
                    <a:lnTo>
                      <a:pt x="157" y="733"/>
                    </a:lnTo>
                    <a:lnTo>
                      <a:pt x="180" y="731"/>
                    </a:lnTo>
                    <a:lnTo>
                      <a:pt x="202" y="727"/>
                    </a:lnTo>
                    <a:lnTo>
                      <a:pt x="244" y="721"/>
                    </a:lnTo>
                    <a:lnTo>
                      <a:pt x="283" y="713"/>
                    </a:lnTo>
                    <a:lnTo>
                      <a:pt x="323" y="705"/>
                    </a:lnTo>
                    <a:lnTo>
                      <a:pt x="365" y="699"/>
                    </a:lnTo>
                    <a:lnTo>
                      <a:pt x="387" y="696"/>
                    </a:lnTo>
                    <a:lnTo>
                      <a:pt x="411" y="693"/>
                    </a:lnTo>
                    <a:lnTo>
                      <a:pt x="436" y="692"/>
                    </a:lnTo>
                    <a:lnTo>
                      <a:pt x="462" y="692"/>
                    </a:lnTo>
                    <a:lnTo>
                      <a:pt x="492" y="693"/>
                    </a:lnTo>
                    <a:lnTo>
                      <a:pt x="521" y="696"/>
                    </a:lnTo>
                    <a:lnTo>
                      <a:pt x="548" y="698"/>
                    </a:lnTo>
                    <a:lnTo>
                      <a:pt x="574" y="700"/>
                    </a:lnTo>
                    <a:lnTo>
                      <a:pt x="599" y="701"/>
                    </a:lnTo>
                    <a:lnTo>
                      <a:pt x="624" y="701"/>
                    </a:lnTo>
                    <a:lnTo>
                      <a:pt x="636" y="700"/>
                    </a:lnTo>
                    <a:lnTo>
                      <a:pt x="648" y="698"/>
                    </a:lnTo>
                    <a:lnTo>
                      <a:pt x="660" y="696"/>
                    </a:lnTo>
                    <a:lnTo>
                      <a:pt x="671" y="692"/>
                    </a:lnTo>
                    <a:lnTo>
                      <a:pt x="671" y="677"/>
                    </a:lnTo>
                    <a:lnTo>
                      <a:pt x="668" y="664"/>
                    </a:lnTo>
                    <a:lnTo>
                      <a:pt x="666" y="659"/>
                    </a:lnTo>
                    <a:lnTo>
                      <a:pt x="663" y="653"/>
                    </a:lnTo>
                    <a:lnTo>
                      <a:pt x="660" y="649"/>
                    </a:lnTo>
                    <a:lnTo>
                      <a:pt x="657" y="643"/>
                    </a:lnTo>
                    <a:lnTo>
                      <a:pt x="649" y="636"/>
                    </a:lnTo>
                    <a:lnTo>
                      <a:pt x="639" y="629"/>
                    </a:lnTo>
                    <a:lnTo>
                      <a:pt x="629" y="624"/>
                    </a:lnTo>
                    <a:lnTo>
                      <a:pt x="617" y="618"/>
                    </a:lnTo>
                    <a:lnTo>
                      <a:pt x="603" y="615"/>
                    </a:lnTo>
                    <a:lnTo>
                      <a:pt x="588" y="613"/>
                    </a:lnTo>
                    <a:lnTo>
                      <a:pt x="573" y="611"/>
                    </a:lnTo>
                    <a:lnTo>
                      <a:pt x="557" y="610"/>
                    </a:lnTo>
                    <a:lnTo>
                      <a:pt x="521" y="608"/>
                    </a:lnTo>
                    <a:lnTo>
                      <a:pt x="483" y="608"/>
                    </a:lnTo>
                    <a:lnTo>
                      <a:pt x="430" y="607"/>
                    </a:lnTo>
                    <a:lnTo>
                      <a:pt x="382" y="606"/>
                    </a:lnTo>
                    <a:lnTo>
                      <a:pt x="338" y="605"/>
                    </a:lnTo>
                    <a:lnTo>
                      <a:pt x="294" y="605"/>
                    </a:lnTo>
                    <a:lnTo>
                      <a:pt x="272" y="607"/>
                    </a:lnTo>
                    <a:lnTo>
                      <a:pt x="250" y="610"/>
                    </a:lnTo>
                    <a:lnTo>
                      <a:pt x="229" y="613"/>
                    </a:lnTo>
                    <a:lnTo>
                      <a:pt x="206" y="617"/>
                    </a:lnTo>
                    <a:lnTo>
                      <a:pt x="182" y="623"/>
                    </a:lnTo>
                    <a:lnTo>
                      <a:pt x="158" y="630"/>
                    </a:lnTo>
                    <a:lnTo>
                      <a:pt x="132" y="639"/>
                    </a:lnTo>
                    <a:lnTo>
                      <a:pt x="105" y="650"/>
                    </a:lnTo>
                    <a:lnTo>
                      <a:pt x="117" y="611"/>
                    </a:lnTo>
                    <a:lnTo>
                      <a:pt x="126" y="582"/>
                    </a:lnTo>
                    <a:lnTo>
                      <a:pt x="131" y="571"/>
                    </a:lnTo>
                    <a:lnTo>
                      <a:pt x="135" y="562"/>
                    </a:lnTo>
                    <a:lnTo>
                      <a:pt x="140" y="553"/>
                    </a:lnTo>
                    <a:lnTo>
                      <a:pt x="147" y="545"/>
                    </a:lnTo>
                    <a:lnTo>
                      <a:pt x="138" y="538"/>
                    </a:lnTo>
                    <a:lnTo>
                      <a:pt x="127" y="530"/>
                    </a:lnTo>
                    <a:lnTo>
                      <a:pt x="115" y="522"/>
                    </a:lnTo>
                    <a:lnTo>
                      <a:pt x="102" y="517"/>
                    </a:lnTo>
                    <a:lnTo>
                      <a:pt x="88" y="511"/>
                    </a:lnTo>
                    <a:lnTo>
                      <a:pt x="73" y="507"/>
                    </a:lnTo>
                    <a:lnTo>
                      <a:pt x="57" y="504"/>
                    </a:lnTo>
                    <a:lnTo>
                      <a:pt x="42" y="504"/>
                    </a:lnTo>
                    <a:lnTo>
                      <a:pt x="41" y="493"/>
                    </a:lnTo>
                    <a:lnTo>
                      <a:pt x="40" y="483"/>
                    </a:lnTo>
                    <a:lnTo>
                      <a:pt x="38" y="475"/>
                    </a:lnTo>
                    <a:lnTo>
                      <a:pt x="36" y="470"/>
                    </a:lnTo>
                    <a:lnTo>
                      <a:pt x="32" y="465"/>
                    </a:lnTo>
                    <a:lnTo>
                      <a:pt x="29" y="460"/>
                    </a:lnTo>
                    <a:lnTo>
                      <a:pt x="25" y="457"/>
                    </a:lnTo>
                    <a:lnTo>
                      <a:pt x="22" y="454"/>
                    </a:lnTo>
                    <a:lnTo>
                      <a:pt x="14" y="448"/>
                    </a:lnTo>
                    <a:lnTo>
                      <a:pt x="6" y="442"/>
                    </a:lnTo>
                    <a:lnTo>
                      <a:pt x="4" y="437"/>
                    </a:lnTo>
                    <a:lnTo>
                      <a:pt x="2" y="433"/>
                    </a:lnTo>
                    <a:lnTo>
                      <a:pt x="1" y="426"/>
                    </a:lnTo>
                    <a:lnTo>
                      <a:pt x="0" y="420"/>
                    </a:lnTo>
                    <a:lnTo>
                      <a:pt x="1" y="407"/>
                    </a:lnTo>
                    <a:lnTo>
                      <a:pt x="5" y="393"/>
                    </a:lnTo>
                    <a:lnTo>
                      <a:pt x="11" y="378"/>
                    </a:lnTo>
                    <a:lnTo>
                      <a:pt x="17" y="362"/>
                    </a:lnTo>
                    <a:lnTo>
                      <a:pt x="26" y="345"/>
                    </a:lnTo>
                    <a:lnTo>
                      <a:pt x="36" y="327"/>
                    </a:lnTo>
                    <a:lnTo>
                      <a:pt x="47" y="310"/>
                    </a:lnTo>
                    <a:lnTo>
                      <a:pt x="57" y="291"/>
                    </a:lnTo>
                    <a:lnTo>
                      <a:pt x="83" y="253"/>
                    </a:lnTo>
                    <a:lnTo>
                      <a:pt x="107" y="216"/>
                    </a:lnTo>
                    <a:lnTo>
                      <a:pt x="128" y="180"/>
                    </a:lnTo>
                    <a:lnTo>
                      <a:pt x="147" y="146"/>
                    </a:lnTo>
                    <a:lnTo>
                      <a:pt x="154" y="133"/>
                    </a:lnTo>
                    <a:lnTo>
                      <a:pt x="159" y="126"/>
                    </a:lnTo>
                    <a:lnTo>
                      <a:pt x="161" y="123"/>
                    </a:lnTo>
                    <a:lnTo>
                      <a:pt x="163" y="122"/>
                    </a:lnTo>
                    <a:lnTo>
                      <a:pt x="164" y="122"/>
                    </a:lnTo>
                    <a:lnTo>
                      <a:pt x="165" y="122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6" y="135"/>
                    </a:lnTo>
                    <a:lnTo>
                      <a:pt x="165" y="141"/>
                    </a:lnTo>
                    <a:lnTo>
                      <a:pt x="163" y="151"/>
                    </a:lnTo>
                    <a:lnTo>
                      <a:pt x="162" y="153"/>
                    </a:lnTo>
                    <a:lnTo>
                      <a:pt x="163" y="139"/>
                    </a:lnTo>
                    <a:lnTo>
                      <a:pt x="168" y="105"/>
                    </a:lnTo>
                    <a:lnTo>
                      <a:pt x="178" y="104"/>
                    </a:lnTo>
                    <a:lnTo>
                      <a:pt x="196" y="101"/>
                    </a:lnTo>
                    <a:lnTo>
                      <a:pt x="217" y="95"/>
                    </a:lnTo>
                    <a:lnTo>
                      <a:pt x="242" y="89"/>
                    </a:lnTo>
                    <a:lnTo>
                      <a:pt x="299" y="71"/>
                    </a:lnTo>
                    <a:lnTo>
                      <a:pt x="362" y="53"/>
                    </a:lnTo>
                    <a:lnTo>
                      <a:pt x="423" y="33"/>
                    </a:lnTo>
                    <a:lnTo>
                      <a:pt x="475" y="17"/>
                    </a:lnTo>
                    <a:lnTo>
                      <a:pt x="511" y="5"/>
                    </a:lnTo>
                    <a:lnTo>
                      <a:pt x="525" y="0"/>
                    </a:lnTo>
                    <a:lnTo>
                      <a:pt x="536" y="11"/>
                    </a:lnTo>
                    <a:lnTo>
                      <a:pt x="548" y="21"/>
                    </a:lnTo>
                    <a:lnTo>
                      <a:pt x="560" y="31"/>
                    </a:lnTo>
                    <a:lnTo>
                      <a:pt x="572" y="39"/>
                    </a:lnTo>
                    <a:lnTo>
                      <a:pt x="584" y="47"/>
                    </a:lnTo>
                    <a:lnTo>
                      <a:pt x="597" y="54"/>
                    </a:lnTo>
                    <a:lnTo>
                      <a:pt x="609" y="60"/>
                    </a:lnTo>
                    <a:lnTo>
                      <a:pt x="622" y="66"/>
                    </a:lnTo>
                    <a:lnTo>
                      <a:pt x="635" y="70"/>
                    </a:lnTo>
                    <a:lnTo>
                      <a:pt x="648" y="73"/>
                    </a:lnTo>
                    <a:lnTo>
                      <a:pt x="661" y="77"/>
                    </a:lnTo>
                    <a:lnTo>
                      <a:pt x="675" y="80"/>
                    </a:lnTo>
                    <a:lnTo>
                      <a:pt x="690" y="81"/>
                    </a:lnTo>
                    <a:lnTo>
                      <a:pt x="704" y="83"/>
                    </a:lnTo>
                    <a:lnTo>
                      <a:pt x="719" y="83"/>
                    </a:lnTo>
                    <a:lnTo>
                      <a:pt x="734" y="84"/>
                    </a:lnTo>
                    <a:lnTo>
                      <a:pt x="735" y="101"/>
                    </a:lnTo>
                    <a:lnTo>
                      <a:pt x="736" y="118"/>
                    </a:lnTo>
                    <a:lnTo>
                      <a:pt x="739" y="133"/>
                    </a:lnTo>
                    <a:lnTo>
                      <a:pt x="741" y="148"/>
                    </a:lnTo>
                    <a:lnTo>
                      <a:pt x="744" y="164"/>
                    </a:lnTo>
                    <a:lnTo>
                      <a:pt x="748" y="178"/>
                    </a:lnTo>
                    <a:lnTo>
                      <a:pt x="753" y="191"/>
                    </a:lnTo>
                    <a:lnTo>
                      <a:pt x="758" y="204"/>
                    </a:lnTo>
                    <a:lnTo>
                      <a:pt x="764" y="216"/>
                    </a:lnTo>
                    <a:lnTo>
                      <a:pt x="770" y="228"/>
                    </a:lnTo>
                    <a:lnTo>
                      <a:pt x="777" y="239"/>
                    </a:lnTo>
                    <a:lnTo>
                      <a:pt x="784" y="250"/>
                    </a:lnTo>
                    <a:lnTo>
                      <a:pt x="800" y="269"/>
                    </a:lnTo>
                    <a:lnTo>
                      <a:pt x="816" y="288"/>
                    </a:lnTo>
                    <a:lnTo>
                      <a:pt x="832" y="305"/>
                    </a:lnTo>
                    <a:lnTo>
                      <a:pt x="850" y="321"/>
                    </a:lnTo>
                    <a:lnTo>
                      <a:pt x="867" y="336"/>
                    </a:lnTo>
                    <a:lnTo>
                      <a:pt x="885" y="349"/>
                    </a:lnTo>
                    <a:lnTo>
                      <a:pt x="917" y="374"/>
                    </a:lnTo>
                    <a:lnTo>
                      <a:pt x="945" y="398"/>
                    </a:lnTo>
                    <a:lnTo>
                      <a:pt x="945" y="672"/>
                    </a:lnTo>
                    <a:lnTo>
                      <a:pt x="1091" y="756"/>
                    </a:lnTo>
                    <a:lnTo>
                      <a:pt x="1087" y="760"/>
                    </a:lnTo>
                    <a:lnTo>
                      <a:pt x="1086" y="765"/>
                    </a:lnTo>
                    <a:lnTo>
                      <a:pt x="1085" y="773"/>
                    </a:lnTo>
                    <a:lnTo>
                      <a:pt x="1085" y="781"/>
                    </a:lnTo>
                    <a:lnTo>
                      <a:pt x="1088" y="797"/>
                    </a:lnTo>
                    <a:lnTo>
                      <a:pt x="1094" y="816"/>
                    </a:lnTo>
                    <a:lnTo>
                      <a:pt x="1106" y="847"/>
                    </a:lnTo>
                    <a:lnTo>
                      <a:pt x="1112" y="860"/>
                    </a:lnTo>
                    <a:lnTo>
                      <a:pt x="1103" y="857"/>
                    </a:lnTo>
                    <a:lnTo>
                      <a:pt x="1075" y="850"/>
                    </a:lnTo>
                    <a:lnTo>
                      <a:pt x="1034" y="842"/>
                    </a:lnTo>
                    <a:lnTo>
                      <a:pt x="978" y="831"/>
                    </a:lnTo>
                    <a:lnTo>
                      <a:pt x="947" y="826"/>
                    </a:lnTo>
                    <a:lnTo>
                      <a:pt x="912" y="822"/>
                    </a:lnTo>
                    <a:lnTo>
                      <a:pt x="876" y="819"/>
                    </a:lnTo>
                    <a:lnTo>
                      <a:pt x="838" y="816"/>
                    </a:lnTo>
                    <a:lnTo>
                      <a:pt x="797" y="814"/>
                    </a:lnTo>
                    <a:lnTo>
                      <a:pt x="757" y="813"/>
                    </a:lnTo>
                    <a:lnTo>
                      <a:pt x="715" y="816"/>
                    </a:lnTo>
                    <a:lnTo>
                      <a:pt x="671" y="818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1" name="Freeform 259"/>
              <p:cNvSpPr>
                <a:spLocks/>
              </p:cNvSpPr>
              <p:nvPr/>
            </p:nvSpPr>
            <p:spPr bwMode="auto">
              <a:xfrm>
                <a:off x="1768" y="2056"/>
                <a:ext cx="110" cy="73"/>
              </a:xfrm>
              <a:custGeom>
                <a:avLst/>
                <a:gdLst/>
                <a:ahLst/>
                <a:cxnLst>
                  <a:cxn ang="0">
                    <a:pos x="546" y="30"/>
                  </a:cxn>
                  <a:cxn ang="0">
                    <a:pos x="533" y="52"/>
                  </a:cxn>
                  <a:cxn ang="0">
                    <a:pos x="520" y="76"/>
                  </a:cxn>
                  <a:cxn ang="0">
                    <a:pos x="506" y="99"/>
                  </a:cxn>
                  <a:cxn ang="0">
                    <a:pos x="490" y="123"/>
                  </a:cxn>
                  <a:cxn ang="0">
                    <a:pos x="475" y="146"/>
                  </a:cxn>
                  <a:cxn ang="0">
                    <a:pos x="458" y="169"/>
                  </a:cxn>
                  <a:cxn ang="0">
                    <a:pos x="440" y="191"/>
                  </a:cxn>
                  <a:cxn ang="0">
                    <a:pos x="423" y="213"/>
                  </a:cxn>
                  <a:cxn ang="0">
                    <a:pos x="403" y="234"/>
                  </a:cxn>
                  <a:cxn ang="0">
                    <a:pos x="383" y="255"/>
                  </a:cxn>
                  <a:cxn ang="0">
                    <a:pos x="363" y="275"/>
                  </a:cxn>
                  <a:cxn ang="0">
                    <a:pos x="342" y="294"/>
                  </a:cxn>
                  <a:cxn ang="0">
                    <a:pos x="320" y="313"/>
                  </a:cxn>
                  <a:cxn ang="0">
                    <a:pos x="298" y="331"/>
                  </a:cxn>
                  <a:cxn ang="0">
                    <a:pos x="276" y="349"/>
                  </a:cxn>
                  <a:cxn ang="0">
                    <a:pos x="252" y="365"/>
                  </a:cxn>
                  <a:cxn ang="0">
                    <a:pos x="244" y="353"/>
                  </a:cxn>
                  <a:cxn ang="0">
                    <a:pos x="237" y="341"/>
                  </a:cxn>
                  <a:cxn ang="0">
                    <a:pos x="232" y="329"/>
                  </a:cxn>
                  <a:cxn ang="0">
                    <a:pos x="227" y="318"/>
                  </a:cxn>
                  <a:cxn ang="0">
                    <a:pos x="218" y="295"/>
                  </a:cxn>
                  <a:cxn ang="0">
                    <a:pos x="210" y="273"/>
                  </a:cxn>
                  <a:cxn ang="0">
                    <a:pos x="201" y="252"/>
                  </a:cxn>
                  <a:cxn ang="0">
                    <a:pos x="193" y="232"/>
                  </a:cxn>
                  <a:cxn ang="0">
                    <a:pos x="187" y="222"/>
                  </a:cxn>
                  <a:cxn ang="0">
                    <a:pos x="182" y="214"/>
                  </a:cxn>
                  <a:cxn ang="0">
                    <a:pos x="175" y="205"/>
                  </a:cxn>
                  <a:cxn ang="0">
                    <a:pos x="168" y="197"/>
                  </a:cxn>
                  <a:cxn ang="0">
                    <a:pos x="122" y="152"/>
                  </a:cxn>
                  <a:cxn ang="0">
                    <a:pos x="91" y="121"/>
                  </a:cxn>
                  <a:cxn ang="0">
                    <a:pos x="72" y="104"/>
                  </a:cxn>
                  <a:cxn ang="0">
                    <a:pos x="60" y="95"/>
                  </a:cxn>
                  <a:cxn ang="0">
                    <a:pos x="51" y="91"/>
                  </a:cxn>
                  <a:cxn ang="0">
                    <a:pos x="41" y="87"/>
                  </a:cxn>
                  <a:cxn ang="0">
                    <a:pos x="25" y="83"/>
                  </a:cxn>
                  <a:cxn ang="0">
                    <a:pos x="0" y="71"/>
                  </a:cxn>
                  <a:cxn ang="0">
                    <a:pos x="63" y="50"/>
                  </a:cxn>
                  <a:cxn ang="0">
                    <a:pos x="84" y="39"/>
                  </a:cxn>
                  <a:cxn ang="0">
                    <a:pos x="106" y="30"/>
                  </a:cxn>
                  <a:cxn ang="0">
                    <a:pos x="128" y="21"/>
                  </a:cxn>
                  <a:cxn ang="0">
                    <a:pos x="154" y="14"/>
                  </a:cxn>
                  <a:cxn ang="0">
                    <a:pos x="179" y="9"/>
                  </a:cxn>
                  <a:cxn ang="0">
                    <a:pos x="207" y="4"/>
                  </a:cxn>
                  <a:cxn ang="0">
                    <a:pos x="235" y="2"/>
                  </a:cxn>
                  <a:cxn ang="0">
                    <a:pos x="265" y="0"/>
                  </a:cxn>
                  <a:cxn ang="0">
                    <a:pos x="296" y="0"/>
                  </a:cxn>
                  <a:cxn ang="0">
                    <a:pos x="328" y="1"/>
                  </a:cxn>
                  <a:cxn ang="0">
                    <a:pos x="362" y="2"/>
                  </a:cxn>
                  <a:cxn ang="0">
                    <a:pos x="397" y="6"/>
                  </a:cxn>
                  <a:cxn ang="0">
                    <a:pos x="433" y="10"/>
                  </a:cxn>
                  <a:cxn ang="0">
                    <a:pos x="468" y="15"/>
                  </a:cxn>
                  <a:cxn ang="0">
                    <a:pos x="507" y="22"/>
                  </a:cxn>
                  <a:cxn ang="0">
                    <a:pos x="546" y="30"/>
                  </a:cxn>
                </a:cxnLst>
                <a:rect l="0" t="0" r="r" b="b"/>
                <a:pathLst>
                  <a:path w="546" h="365">
                    <a:moveTo>
                      <a:pt x="546" y="30"/>
                    </a:moveTo>
                    <a:lnTo>
                      <a:pt x="533" y="52"/>
                    </a:lnTo>
                    <a:lnTo>
                      <a:pt x="520" y="76"/>
                    </a:lnTo>
                    <a:lnTo>
                      <a:pt x="506" y="99"/>
                    </a:lnTo>
                    <a:lnTo>
                      <a:pt x="490" y="123"/>
                    </a:lnTo>
                    <a:lnTo>
                      <a:pt x="475" y="146"/>
                    </a:lnTo>
                    <a:lnTo>
                      <a:pt x="458" y="169"/>
                    </a:lnTo>
                    <a:lnTo>
                      <a:pt x="440" y="191"/>
                    </a:lnTo>
                    <a:lnTo>
                      <a:pt x="423" y="213"/>
                    </a:lnTo>
                    <a:lnTo>
                      <a:pt x="403" y="234"/>
                    </a:lnTo>
                    <a:lnTo>
                      <a:pt x="383" y="255"/>
                    </a:lnTo>
                    <a:lnTo>
                      <a:pt x="363" y="275"/>
                    </a:lnTo>
                    <a:lnTo>
                      <a:pt x="342" y="294"/>
                    </a:lnTo>
                    <a:lnTo>
                      <a:pt x="320" y="313"/>
                    </a:lnTo>
                    <a:lnTo>
                      <a:pt x="298" y="331"/>
                    </a:lnTo>
                    <a:lnTo>
                      <a:pt x="276" y="349"/>
                    </a:lnTo>
                    <a:lnTo>
                      <a:pt x="252" y="365"/>
                    </a:lnTo>
                    <a:lnTo>
                      <a:pt x="244" y="353"/>
                    </a:lnTo>
                    <a:lnTo>
                      <a:pt x="237" y="341"/>
                    </a:lnTo>
                    <a:lnTo>
                      <a:pt x="232" y="329"/>
                    </a:lnTo>
                    <a:lnTo>
                      <a:pt x="227" y="318"/>
                    </a:lnTo>
                    <a:lnTo>
                      <a:pt x="218" y="295"/>
                    </a:lnTo>
                    <a:lnTo>
                      <a:pt x="210" y="273"/>
                    </a:lnTo>
                    <a:lnTo>
                      <a:pt x="201" y="252"/>
                    </a:lnTo>
                    <a:lnTo>
                      <a:pt x="193" y="232"/>
                    </a:lnTo>
                    <a:lnTo>
                      <a:pt x="187" y="222"/>
                    </a:lnTo>
                    <a:lnTo>
                      <a:pt x="182" y="214"/>
                    </a:lnTo>
                    <a:lnTo>
                      <a:pt x="175" y="205"/>
                    </a:lnTo>
                    <a:lnTo>
                      <a:pt x="168" y="197"/>
                    </a:lnTo>
                    <a:lnTo>
                      <a:pt x="122" y="152"/>
                    </a:lnTo>
                    <a:lnTo>
                      <a:pt x="91" y="121"/>
                    </a:lnTo>
                    <a:lnTo>
                      <a:pt x="72" y="104"/>
                    </a:lnTo>
                    <a:lnTo>
                      <a:pt x="60" y="95"/>
                    </a:lnTo>
                    <a:lnTo>
                      <a:pt x="51" y="91"/>
                    </a:lnTo>
                    <a:lnTo>
                      <a:pt x="41" y="87"/>
                    </a:lnTo>
                    <a:lnTo>
                      <a:pt x="25" y="83"/>
                    </a:lnTo>
                    <a:lnTo>
                      <a:pt x="0" y="71"/>
                    </a:lnTo>
                    <a:lnTo>
                      <a:pt x="63" y="50"/>
                    </a:lnTo>
                    <a:lnTo>
                      <a:pt x="84" y="39"/>
                    </a:lnTo>
                    <a:lnTo>
                      <a:pt x="106" y="30"/>
                    </a:lnTo>
                    <a:lnTo>
                      <a:pt x="128" y="21"/>
                    </a:lnTo>
                    <a:lnTo>
                      <a:pt x="154" y="14"/>
                    </a:lnTo>
                    <a:lnTo>
                      <a:pt x="179" y="9"/>
                    </a:lnTo>
                    <a:lnTo>
                      <a:pt x="207" y="4"/>
                    </a:lnTo>
                    <a:lnTo>
                      <a:pt x="235" y="2"/>
                    </a:lnTo>
                    <a:lnTo>
                      <a:pt x="265" y="0"/>
                    </a:lnTo>
                    <a:lnTo>
                      <a:pt x="296" y="0"/>
                    </a:lnTo>
                    <a:lnTo>
                      <a:pt x="328" y="1"/>
                    </a:lnTo>
                    <a:lnTo>
                      <a:pt x="362" y="2"/>
                    </a:lnTo>
                    <a:lnTo>
                      <a:pt x="397" y="6"/>
                    </a:lnTo>
                    <a:lnTo>
                      <a:pt x="433" y="10"/>
                    </a:lnTo>
                    <a:lnTo>
                      <a:pt x="468" y="15"/>
                    </a:lnTo>
                    <a:lnTo>
                      <a:pt x="507" y="22"/>
                    </a:lnTo>
                    <a:lnTo>
                      <a:pt x="546" y="30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2" name="Freeform 260"/>
              <p:cNvSpPr>
                <a:spLocks/>
              </p:cNvSpPr>
              <p:nvPr/>
            </p:nvSpPr>
            <p:spPr bwMode="auto">
              <a:xfrm>
                <a:off x="1768" y="2056"/>
                <a:ext cx="110" cy="73"/>
              </a:xfrm>
              <a:custGeom>
                <a:avLst/>
                <a:gdLst/>
                <a:ahLst/>
                <a:cxnLst>
                  <a:cxn ang="0">
                    <a:pos x="546" y="30"/>
                  </a:cxn>
                  <a:cxn ang="0">
                    <a:pos x="533" y="52"/>
                  </a:cxn>
                  <a:cxn ang="0">
                    <a:pos x="520" y="76"/>
                  </a:cxn>
                  <a:cxn ang="0">
                    <a:pos x="506" y="99"/>
                  </a:cxn>
                  <a:cxn ang="0">
                    <a:pos x="490" y="123"/>
                  </a:cxn>
                  <a:cxn ang="0">
                    <a:pos x="475" y="146"/>
                  </a:cxn>
                  <a:cxn ang="0">
                    <a:pos x="458" y="169"/>
                  </a:cxn>
                  <a:cxn ang="0">
                    <a:pos x="440" y="191"/>
                  </a:cxn>
                  <a:cxn ang="0">
                    <a:pos x="423" y="213"/>
                  </a:cxn>
                  <a:cxn ang="0">
                    <a:pos x="403" y="234"/>
                  </a:cxn>
                  <a:cxn ang="0">
                    <a:pos x="383" y="255"/>
                  </a:cxn>
                  <a:cxn ang="0">
                    <a:pos x="363" y="275"/>
                  </a:cxn>
                  <a:cxn ang="0">
                    <a:pos x="342" y="294"/>
                  </a:cxn>
                  <a:cxn ang="0">
                    <a:pos x="320" y="313"/>
                  </a:cxn>
                  <a:cxn ang="0">
                    <a:pos x="298" y="331"/>
                  </a:cxn>
                  <a:cxn ang="0">
                    <a:pos x="276" y="349"/>
                  </a:cxn>
                  <a:cxn ang="0">
                    <a:pos x="252" y="365"/>
                  </a:cxn>
                  <a:cxn ang="0">
                    <a:pos x="244" y="353"/>
                  </a:cxn>
                  <a:cxn ang="0">
                    <a:pos x="237" y="341"/>
                  </a:cxn>
                  <a:cxn ang="0">
                    <a:pos x="232" y="329"/>
                  </a:cxn>
                  <a:cxn ang="0">
                    <a:pos x="227" y="318"/>
                  </a:cxn>
                  <a:cxn ang="0">
                    <a:pos x="218" y="295"/>
                  </a:cxn>
                  <a:cxn ang="0">
                    <a:pos x="210" y="273"/>
                  </a:cxn>
                  <a:cxn ang="0">
                    <a:pos x="201" y="252"/>
                  </a:cxn>
                  <a:cxn ang="0">
                    <a:pos x="193" y="232"/>
                  </a:cxn>
                  <a:cxn ang="0">
                    <a:pos x="187" y="222"/>
                  </a:cxn>
                  <a:cxn ang="0">
                    <a:pos x="182" y="214"/>
                  </a:cxn>
                  <a:cxn ang="0">
                    <a:pos x="175" y="205"/>
                  </a:cxn>
                  <a:cxn ang="0">
                    <a:pos x="168" y="197"/>
                  </a:cxn>
                  <a:cxn ang="0">
                    <a:pos x="122" y="152"/>
                  </a:cxn>
                  <a:cxn ang="0">
                    <a:pos x="91" y="121"/>
                  </a:cxn>
                  <a:cxn ang="0">
                    <a:pos x="72" y="104"/>
                  </a:cxn>
                  <a:cxn ang="0">
                    <a:pos x="60" y="95"/>
                  </a:cxn>
                  <a:cxn ang="0">
                    <a:pos x="51" y="91"/>
                  </a:cxn>
                  <a:cxn ang="0">
                    <a:pos x="41" y="87"/>
                  </a:cxn>
                  <a:cxn ang="0">
                    <a:pos x="25" y="83"/>
                  </a:cxn>
                  <a:cxn ang="0">
                    <a:pos x="0" y="71"/>
                  </a:cxn>
                  <a:cxn ang="0">
                    <a:pos x="63" y="50"/>
                  </a:cxn>
                  <a:cxn ang="0">
                    <a:pos x="84" y="39"/>
                  </a:cxn>
                  <a:cxn ang="0">
                    <a:pos x="106" y="30"/>
                  </a:cxn>
                  <a:cxn ang="0">
                    <a:pos x="128" y="21"/>
                  </a:cxn>
                  <a:cxn ang="0">
                    <a:pos x="154" y="14"/>
                  </a:cxn>
                  <a:cxn ang="0">
                    <a:pos x="179" y="9"/>
                  </a:cxn>
                  <a:cxn ang="0">
                    <a:pos x="207" y="4"/>
                  </a:cxn>
                  <a:cxn ang="0">
                    <a:pos x="235" y="2"/>
                  </a:cxn>
                  <a:cxn ang="0">
                    <a:pos x="265" y="0"/>
                  </a:cxn>
                  <a:cxn ang="0">
                    <a:pos x="296" y="0"/>
                  </a:cxn>
                  <a:cxn ang="0">
                    <a:pos x="328" y="1"/>
                  </a:cxn>
                  <a:cxn ang="0">
                    <a:pos x="362" y="2"/>
                  </a:cxn>
                  <a:cxn ang="0">
                    <a:pos x="397" y="6"/>
                  </a:cxn>
                  <a:cxn ang="0">
                    <a:pos x="433" y="10"/>
                  </a:cxn>
                  <a:cxn ang="0">
                    <a:pos x="468" y="15"/>
                  </a:cxn>
                  <a:cxn ang="0">
                    <a:pos x="507" y="22"/>
                  </a:cxn>
                  <a:cxn ang="0">
                    <a:pos x="546" y="30"/>
                  </a:cxn>
                </a:cxnLst>
                <a:rect l="0" t="0" r="r" b="b"/>
                <a:pathLst>
                  <a:path w="546" h="365">
                    <a:moveTo>
                      <a:pt x="546" y="30"/>
                    </a:moveTo>
                    <a:lnTo>
                      <a:pt x="533" y="52"/>
                    </a:lnTo>
                    <a:lnTo>
                      <a:pt x="520" y="76"/>
                    </a:lnTo>
                    <a:lnTo>
                      <a:pt x="506" y="99"/>
                    </a:lnTo>
                    <a:lnTo>
                      <a:pt x="490" y="123"/>
                    </a:lnTo>
                    <a:lnTo>
                      <a:pt x="475" y="146"/>
                    </a:lnTo>
                    <a:lnTo>
                      <a:pt x="458" y="169"/>
                    </a:lnTo>
                    <a:lnTo>
                      <a:pt x="440" y="191"/>
                    </a:lnTo>
                    <a:lnTo>
                      <a:pt x="423" y="213"/>
                    </a:lnTo>
                    <a:lnTo>
                      <a:pt x="403" y="234"/>
                    </a:lnTo>
                    <a:lnTo>
                      <a:pt x="383" y="255"/>
                    </a:lnTo>
                    <a:lnTo>
                      <a:pt x="363" y="275"/>
                    </a:lnTo>
                    <a:lnTo>
                      <a:pt x="342" y="294"/>
                    </a:lnTo>
                    <a:lnTo>
                      <a:pt x="320" y="313"/>
                    </a:lnTo>
                    <a:lnTo>
                      <a:pt x="298" y="331"/>
                    </a:lnTo>
                    <a:lnTo>
                      <a:pt x="276" y="349"/>
                    </a:lnTo>
                    <a:lnTo>
                      <a:pt x="252" y="365"/>
                    </a:lnTo>
                    <a:lnTo>
                      <a:pt x="244" y="353"/>
                    </a:lnTo>
                    <a:lnTo>
                      <a:pt x="237" y="341"/>
                    </a:lnTo>
                    <a:lnTo>
                      <a:pt x="232" y="329"/>
                    </a:lnTo>
                    <a:lnTo>
                      <a:pt x="227" y="318"/>
                    </a:lnTo>
                    <a:lnTo>
                      <a:pt x="218" y="295"/>
                    </a:lnTo>
                    <a:lnTo>
                      <a:pt x="210" y="273"/>
                    </a:lnTo>
                    <a:lnTo>
                      <a:pt x="201" y="252"/>
                    </a:lnTo>
                    <a:lnTo>
                      <a:pt x="193" y="232"/>
                    </a:lnTo>
                    <a:lnTo>
                      <a:pt x="187" y="222"/>
                    </a:lnTo>
                    <a:lnTo>
                      <a:pt x="182" y="214"/>
                    </a:lnTo>
                    <a:lnTo>
                      <a:pt x="175" y="205"/>
                    </a:lnTo>
                    <a:lnTo>
                      <a:pt x="168" y="197"/>
                    </a:lnTo>
                    <a:lnTo>
                      <a:pt x="122" y="152"/>
                    </a:lnTo>
                    <a:lnTo>
                      <a:pt x="91" y="121"/>
                    </a:lnTo>
                    <a:lnTo>
                      <a:pt x="72" y="104"/>
                    </a:lnTo>
                    <a:lnTo>
                      <a:pt x="60" y="95"/>
                    </a:lnTo>
                    <a:lnTo>
                      <a:pt x="51" y="91"/>
                    </a:lnTo>
                    <a:lnTo>
                      <a:pt x="41" y="87"/>
                    </a:lnTo>
                    <a:lnTo>
                      <a:pt x="25" y="83"/>
                    </a:lnTo>
                    <a:lnTo>
                      <a:pt x="0" y="71"/>
                    </a:lnTo>
                    <a:lnTo>
                      <a:pt x="63" y="50"/>
                    </a:lnTo>
                    <a:lnTo>
                      <a:pt x="84" y="39"/>
                    </a:lnTo>
                    <a:lnTo>
                      <a:pt x="106" y="30"/>
                    </a:lnTo>
                    <a:lnTo>
                      <a:pt x="128" y="21"/>
                    </a:lnTo>
                    <a:lnTo>
                      <a:pt x="154" y="14"/>
                    </a:lnTo>
                    <a:lnTo>
                      <a:pt x="179" y="9"/>
                    </a:lnTo>
                    <a:lnTo>
                      <a:pt x="207" y="4"/>
                    </a:lnTo>
                    <a:lnTo>
                      <a:pt x="235" y="2"/>
                    </a:lnTo>
                    <a:lnTo>
                      <a:pt x="265" y="0"/>
                    </a:lnTo>
                    <a:lnTo>
                      <a:pt x="296" y="0"/>
                    </a:lnTo>
                    <a:lnTo>
                      <a:pt x="328" y="1"/>
                    </a:lnTo>
                    <a:lnTo>
                      <a:pt x="362" y="2"/>
                    </a:lnTo>
                    <a:lnTo>
                      <a:pt x="397" y="6"/>
                    </a:lnTo>
                    <a:lnTo>
                      <a:pt x="433" y="10"/>
                    </a:lnTo>
                    <a:lnTo>
                      <a:pt x="468" y="15"/>
                    </a:lnTo>
                    <a:lnTo>
                      <a:pt x="507" y="22"/>
                    </a:lnTo>
                    <a:lnTo>
                      <a:pt x="546" y="30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3" name="Freeform 261"/>
              <p:cNvSpPr>
                <a:spLocks/>
              </p:cNvSpPr>
              <p:nvPr/>
            </p:nvSpPr>
            <p:spPr bwMode="auto">
              <a:xfrm>
                <a:off x="1819" y="2058"/>
                <a:ext cx="256" cy="193"/>
              </a:xfrm>
              <a:custGeom>
                <a:avLst/>
                <a:gdLst/>
                <a:ahLst/>
                <a:cxnLst>
                  <a:cxn ang="0">
                    <a:pos x="602" y="35"/>
                  </a:cxn>
                  <a:cxn ang="0">
                    <a:pos x="662" y="55"/>
                  </a:cxn>
                  <a:cxn ang="0">
                    <a:pos x="687" y="74"/>
                  </a:cxn>
                  <a:cxn ang="0">
                    <a:pos x="729" y="92"/>
                  </a:cxn>
                  <a:cxn ang="0">
                    <a:pos x="826" y="119"/>
                  </a:cxn>
                  <a:cxn ang="0">
                    <a:pos x="877" y="125"/>
                  </a:cxn>
                  <a:cxn ang="0">
                    <a:pos x="952" y="107"/>
                  </a:cxn>
                  <a:cxn ang="0">
                    <a:pos x="989" y="85"/>
                  </a:cxn>
                  <a:cxn ang="0">
                    <a:pos x="1090" y="63"/>
                  </a:cxn>
                  <a:cxn ang="0">
                    <a:pos x="1114" y="144"/>
                  </a:cxn>
                  <a:cxn ang="0">
                    <a:pos x="1154" y="218"/>
                  </a:cxn>
                  <a:cxn ang="0">
                    <a:pos x="1208" y="272"/>
                  </a:cxn>
                  <a:cxn ang="0">
                    <a:pos x="1242" y="289"/>
                  </a:cxn>
                  <a:cxn ang="0">
                    <a:pos x="1279" y="294"/>
                  </a:cxn>
                  <a:cxn ang="0">
                    <a:pos x="1279" y="441"/>
                  </a:cxn>
                  <a:cxn ang="0">
                    <a:pos x="1251" y="496"/>
                  </a:cxn>
                  <a:cxn ang="0">
                    <a:pos x="1239" y="538"/>
                  </a:cxn>
                  <a:cxn ang="0">
                    <a:pos x="1239" y="572"/>
                  </a:cxn>
                  <a:cxn ang="0">
                    <a:pos x="1262" y="636"/>
                  </a:cxn>
                  <a:cxn ang="0">
                    <a:pos x="1278" y="701"/>
                  </a:cxn>
                  <a:cxn ang="0">
                    <a:pos x="1282" y="761"/>
                  </a:cxn>
                  <a:cxn ang="0">
                    <a:pos x="1282" y="844"/>
                  </a:cxn>
                  <a:cxn ang="0">
                    <a:pos x="1278" y="910"/>
                  </a:cxn>
                  <a:cxn ang="0">
                    <a:pos x="1257" y="949"/>
                  </a:cxn>
                  <a:cxn ang="0">
                    <a:pos x="1165" y="967"/>
                  </a:cxn>
                  <a:cxn ang="0">
                    <a:pos x="1128" y="967"/>
                  </a:cxn>
                  <a:cxn ang="0">
                    <a:pos x="1084" y="953"/>
                  </a:cxn>
                  <a:cxn ang="0">
                    <a:pos x="1025" y="911"/>
                  </a:cxn>
                  <a:cxn ang="0">
                    <a:pos x="983" y="858"/>
                  </a:cxn>
                  <a:cxn ang="0">
                    <a:pos x="944" y="818"/>
                  </a:cxn>
                  <a:cxn ang="0">
                    <a:pos x="890" y="813"/>
                  </a:cxn>
                  <a:cxn ang="0">
                    <a:pos x="839" y="774"/>
                  </a:cxn>
                  <a:cxn ang="0">
                    <a:pos x="825" y="679"/>
                  </a:cxn>
                  <a:cxn ang="0">
                    <a:pos x="791" y="605"/>
                  </a:cxn>
                  <a:cxn ang="0">
                    <a:pos x="761" y="570"/>
                  </a:cxn>
                  <a:cxn ang="0">
                    <a:pos x="722" y="544"/>
                  </a:cxn>
                  <a:cxn ang="0">
                    <a:pos x="673" y="528"/>
                  </a:cxn>
                  <a:cxn ang="0">
                    <a:pos x="615" y="525"/>
                  </a:cxn>
                  <a:cxn ang="0">
                    <a:pos x="566" y="532"/>
                  </a:cxn>
                  <a:cxn ang="0">
                    <a:pos x="512" y="552"/>
                  </a:cxn>
                  <a:cxn ang="0">
                    <a:pos x="439" y="606"/>
                  </a:cxn>
                  <a:cxn ang="0">
                    <a:pos x="352" y="695"/>
                  </a:cxn>
                  <a:cxn ang="0">
                    <a:pos x="310" y="684"/>
                  </a:cxn>
                  <a:cxn ang="0">
                    <a:pos x="289" y="626"/>
                  </a:cxn>
                  <a:cxn ang="0">
                    <a:pos x="258" y="576"/>
                  </a:cxn>
                  <a:cxn ang="0">
                    <a:pos x="181" y="502"/>
                  </a:cxn>
                  <a:cxn ang="0">
                    <a:pos x="76" y="423"/>
                  </a:cxn>
                  <a:cxn ang="0">
                    <a:pos x="24" y="341"/>
                  </a:cxn>
                  <a:cxn ang="0">
                    <a:pos x="116" y="262"/>
                  </a:cxn>
                  <a:cxn ang="0">
                    <a:pos x="201" y="171"/>
                  </a:cxn>
                  <a:cxn ang="0">
                    <a:pos x="273" y="73"/>
                  </a:cxn>
                  <a:cxn ang="0">
                    <a:pos x="524" y="22"/>
                  </a:cxn>
                </a:cxnLst>
                <a:rect l="0" t="0" r="r" b="b"/>
                <a:pathLst>
                  <a:path w="1282" h="968">
                    <a:moveTo>
                      <a:pt x="524" y="22"/>
                    </a:moveTo>
                    <a:lnTo>
                      <a:pt x="554" y="25"/>
                    </a:lnTo>
                    <a:lnTo>
                      <a:pt x="579" y="30"/>
                    </a:lnTo>
                    <a:lnTo>
                      <a:pt x="602" y="35"/>
                    </a:lnTo>
                    <a:lnTo>
                      <a:pt x="621" y="40"/>
                    </a:lnTo>
                    <a:lnTo>
                      <a:pt x="637" y="46"/>
                    </a:lnTo>
                    <a:lnTo>
                      <a:pt x="651" y="50"/>
                    </a:lnTo>
                    <a:lnTo>
                      <a:pt x="662" y="55"/>
                    </a:lnTo>
                    <a:lnTo>
                      <a:pt x="671" y="61"/>
                    </a:lnTo>
                    <a:lnTo>
                      <a:pt x="679" y="65"/>
                    </a:lnTo>
                    <a:lnTo>
                      <a:pt x="683" y="69"/>
                    </a:lnTo>
                    <a:lnTo>
                      <a:pt x="687" y="74"/>
                    </a:lnTo>
                    <a:lnTo>
                      <a:pt x="689" y="77"/>
                    </a:lnTo>
                    <a:lnTo>
                      <a:pt x="692" y="83"/>
                    </a:lnTo>
                    <a:lnTo>
                      <a:pt x="692" y="84"/>
                    </a:lnTo>
                    <a:lnTo>
                      <a:pt x="729" y="92"/>
                    </a:lnTo>
                    <a:lnTo>
                      <a:pt x="759" y="99"/>
                    </a:lnTo>
                    <a:lnTo>
                      <a:pt x="785" y="107"/>
                    </a:lnTo>
                    <a:lnTo>
                      <a:pt x="807" y="113"/>
                    </a:lnTo>
                    <a:lnTo>
                      <a:pt x="826" y="119"/>
                    </a:lnTo>
                    <a:lnTo>
                      <a:pt x="840" y="123"/>
                    </a:lnTo>
                    <a:lnTo>
                      <a:pt x="851" y="125"/>
                    </a:lnTo>
                    <a:lnTo>
                      <a:pt x="859" y="126"/>
                    </a:lnTo>
                    <a:lnTo>
                      <a:pt x="877" y="125"/>
                    </a:lnTo>
                    <a:lnTo>
                      <a:pt x="898" y="122"/>
                    </a:lnTo>
                    <a:lnTo>
                      <a:pt x="919" y="117"/>
                    </a:lnTo>
                    <a:lnTo>
                      <a:pt x="941" y="110"/>
                    </a:lnTo>
                    <a:lnTo>
                      <a:pt x="952" y="107"/>
                    </a:lnTo>
                    <a:lnTo>
                      <a:pt x="962" y="101"/>
                    </a:lnTo>
                    <a:lnTo>
                      <a:pt x="972" y="97"/>
                    </a:lnTo>
                    <a:lnTo>
                      <a:pt x="980" y="90"/>
                    </a:lnTo>
                    <a:lnTo>
                      <a:pt x="989" y="85"/>
                    </a:lnTo>
                    <a:lnTo>
                      <a:pt x="996" y="78"/>
                    </a:lnTo>
                    <a:lnTo>
                      <a:pt x="1002" y="71"/>
                    </a:lnTo>
                    <a:lnTo>
                      <a:pt x="1007" y="63"/>
                    </a:lnTo>
                    <a:lnTo>
                      <a:pt x="1090" y="63"/>
                    </a:lnTo>
                    <a:lnTo>
                      <a:pt x="1095" y="83"/>
                    </a:lnTo>
                    <a:lnTo>
                      <a:pt x="1100" y="103"/>
                    </a:lnTo>
                    <a:lnTo>
                      <a:pt x="1107" y="123"/>
                    </a:lnTo>
                    <a:lnTo>
                      <a:pt x="1114" y="144"/>
                    </a:lnTo>
                    <a:lnTo>
                      <a:pt x="1122" y="163"/>
                    </a:lnTo>
                    <a:lnTo>
                      <a:pt x="1132" y="182"/>
                    </a:lnTo>
                    <a:lnTo>
                      <a:pt x="1143" y="200"/>
                    </a:lnTo>
                    <a:lnTo>
                      <a:pt x="1154" y="218"/>
                    </a:lnTo>
                    <a:lnTo>
                      <a:pt x="1166" y="234"/>
                    </a:lnTo>
                    <a:lnTo>
                      <a:pt x="1179" y="248"/>
                    </a:lnTo>
                    <a:lnTo>
                      <a:pt x="1193" y="261"/>
                    </a:lnTo>
                    <a:lnTo>
                      <a:pt x="1208" y="272"/>
                    </a:lnTo>
                    <a:lnTo>
                      <a:pt x="1217" y="278"/>
                    </a:lnTo>
                    <a:lnTo>
                      <a:pt x="1225" y="282"/>
                    </a:lnTo>
                    <a:lnTo>
                      <a:pt x="1233" y="285"/>
                    </a:lnTo>
                    <a:lnTo>
                      <a:pt x="1242" y="289"/>
                    </a:lnTo>
                    <a:lnTo>
                      <a:pt x="1251" y="291"/>
                    </a:lnTo>
                    <a:lnTo>
                      <a:pt x="1261" y="293"/>
                    </a:lnTo>
                    <a:lnTo>
                      <a:pt x="1270" y="294"/>
                    </a:lnTo>
                    <a:lnTo>
                      <a:pt x="1279" y="294"/>
                    </a:lnTo>
                    <a:lnTo>
                      <a:pt x="1279" y="338"/>
                    </a:lnTo>
                    <a:lnTo>
                      <a:pt x="1279" y="375"/>
                    </a:lnTo>
                    <a:lnTo>
                      <a:pt x="1279" y="408"/>
                    </a:lnTo>
                    <a:lnTo>
                      <a:pt x="1279" y="441"/>
                    </a:lnTo>
                    <a:lnTo>
                      <a:pt x="1270" y="456"/>
                    </a:lnTo>
                    <a:lnTo>
                      <a:pt x="1263" y="471"/>
                    </a:lnTo>
                    <a:lnTo>
                      <a:pt x="1256" y="484"/>
                    </a:lnTo>
                    <a:lnTo>
                      <a:pt x="1251" y="496"/>
                    </a:lnTo>
                    <a:lnTo>
                      <a:pt x="1246" y="508"/>
                    </a:lnTo>
                    <a:lnTo>
                      <a:pt x="1242" y="519"/>
                    </a:lnTo>
                    <a:lnTo>
                      <a:pt x="1240" y="528"/>
                    </a:lnTo>
                    <a:lnTo>
                      <a:pt x="1239" y="538"/>
                    </a:lnTo>
                    <a:lnTo>
                      <a:pt x="1238" y="547"/>
                    </a:lnTo>
                    <a:lnTo>
                      <a:pt x="1238" y="556"/>
                    </a:lnTo>
                    <a:lnTo>
                      <a:pt x="1238" y="564"/>
                    </a:lnTo>
                    <a:lnTo>
                      <a:pt x="1239" y="572"/>
                    </a:lnTo>
                    <a:lnTo>
                      <a:pt x="1243" y="588"/>
                    </a:lnTo>
                    <a:lnTo>
                      <a:pt x="1249" y="604"/>
                    </a:lnTo>
                    <a:lnTo>
                      <a:pt x="1254" y="620"/>
                    </a:lnTo>
                    <a:lnTo>
                      <a:pt x="1262" y="636"/>
                    </a:lnTo>
                    <a:lnTo>
                      <a:pt x="1268" y="656"/>
                    </a:lnTo>
                    <a:lnTo>
                      <a:pt x="1274" y="677"/>
                    </a:lnTo>
                    <a:lnTo>
                      <a:pt x="1276" y="689"/>
                    </a:lnTo>
                    <a:lnTo>
                      <a:pt x="1278" y="701"/>
                    </a:lnTo>
                    <a:lnTo>
                      <a:pt x="1280" y="715"/>
                    </a:lnTo>
                    <a:lnTo>
                      <a:pt x="1281" y="729"/>
                    </a:lnTo>
                    <a:lnTo>
                      <a:pt x="1282" y="744"/>
                    </a:lnTo>
                    <a:lnTo>
                      <a:pt x="1282" y="761"/>
                    </a:lnTo>
                    <a:lnTo>
                      <a:pt x="1281" y="778"/>
                    </a:lnTo>
                    <a:lnTo>
                      <a:pt x="1279" y="798"/>
                    </a:lnTo>
                    <a:lnTo>
                      <a:pt x="1280" y="821"/>
                    </a:lnTo>
                    <a:lnTo>
                      <a:pt x="1282" y="844"/>
                    </a:lnTo>
                    <a:lnTo>
                      <a:pt x="1282" y="867"/>
                    </a:lnTo>
                    <a:lnTo>
                      <a:pt x="1282" y="889"/>
                    </a:lnTo>
                    <a:lnTo>
                      <a:pt x="1281" y="900"/>
                    </a:lnTo>
                    <a:lnTo>
                      <a:pt x="1278" y="910"/>
                    </a:lnTo>
                    <a:lnTo>
                      <a:pt x="1275" y="921"/>
                    </a:lnTo>
                    <a:lnTo>
                      <a:pt x="1270" y="931"/>
                    </a:lnTo>
                    <a:lnTo>
                      <a:pt x="1265" y="939"/>
                    </a:lnTo>
                    <a:lnTo>
                      <a:pt x="1257" y="949"/>
                    </a:lnTo>
                    <a:lnTo>
                      <a:pt x="1249" y="957"/>
                    </a:lnTo>
                    <a:lnTo>
                      <a:pt x="1238" y="965"/>
                    </a:lnTo>
                    <a:lnTo>
                      <a:pt x="1174" y="965"/>
                    </a:lnTo>
                    <a:lnTo>
                      <a:pt x="1165" y="967"/>
                    </a:lnTo>
                    <a:lnTo>
                      <a:pt x="1155" y="968"/>
                    </a:lnTo>
                    <a:lnTo>
                      <a:pt x="1146" y="968"/>
                    </a:lnTo>
                    <a:lnTo>
                      <a:pt x="1136" y="968"/>
                    </a:lnTo>
                    <a:lnTo>
                      <a:pt x="1128" y="967"/>
                    </a:lnTo>
                    <a:lnTo>
                      <a:pt x="1118" y="965"/>
                    </a:lnTo>
                    <a:lnTo>
                      <a:pt x="1109" y="963"/>
                    </a:lnTo>
                    <a:lnTo>
                      <a:pt x="1100" y="960"/>
                    </a:lnTo>
                    <a:lnTo>
                      <a:pt x="1084" y="953"/>
                    </a:lnTo>
                    <a:lnTo>
                      <a:pt x="1068" y="945"/>
                    </a:lnTo>
                    <a:lnTo>
                      <a:pt x="1052" y="935"/>
                    </a:lnTo>
                    <a:lnTo>
                      <a:pt x="1038" y="923"/>
                    </a:lnTo>
                    <a:lnTo>
                      <a:pt x="1025" y="911"/>
                    </a:lnTo>
                    <a:lnTo>
                      <a:pt x="1013" y="898"/>
                    </a:lnTo>
                    <a:lnTo>
                      <a:pt x="1001" y="885"/>
                    </a:lnTo>
                    <a:lnTo>
                      <a:pt x="991" y="871"/>
                    </a:lnTo>
                    <a:lnTo>
                      <a:pt x="983" y="858"/>
                    </a:lnTo>
                    <a:lnTo>
                      <a:pt x="976" y="843"/>
                    </a:lnTo>
                    <a:lnTo>
                      <a:pt x="970" y="830"/>
                    </a:lnTo>
                    <a:lnTo>
                      <a:pt x="965" y="818"/>
                    </a:lnTo>
                    <a:lnTo>
                      <a:pt x="944" y="818"/>
                    </a:lnTo>
                    <a:lnTo>
                      <a:pt x="927" y="818"/>
                    </a:lnTo>
                    <a:lnTo>
                      <a:pt x="914" y="817"/>
                    </a:lnTo>
                    <a:lnTo>
                      <a:pt x="902" y="816"/>
                    </a:lnTo>
                    <a:lnTo>
                      <a:pt x="890" y="813"/>
                    </a:lnTo>
                    <a:lnTo>
                      <a:pt x="876" y="810"/>
                    </a:lnTo>
                    <a:lnTo>
                      <a:pt x="859" y="804"/>
                    </a:lnTo>
                    <a:lnTo>
                      <a:pt x="839" y="798"/>
                    </a:lnTo>
                    <a:lnTo>
                      <a:pt x="839" y="774"/>
                    </a:lnTo>
                    <a:lnTo>
                      <a:pt x="837" y="750"/>
                    </a:lnTo>
                    <a:lnTo>
                      <a:pt x="834" y="726"/>
                    </a:lnTo>
                    <a:lnTo>
                      <a:pt x="830" y="702"/>
                    </a:lnTo>
                    <a:lnTo>
                      <a:pt x="825" y="679"/>
                    </a:lnTo>
                    <a:lnTo>
                      <a:pt x="817" y="656"/>
                    </a:lnTo>
                    <a:lnTo>
                      <a:pt x="808" y="634"/>
                    </a:lnTo>
                    <a:lnTo>
                      <a:pt x="797" y="613"/>
                    </a:lnTo>
                    <a:lnTo>
                      <a:pt x="791" y="605"/>
                    </a:lnTo>
                    <a:lnTo>
                      <a:pt x="784" y="595"/>
                    </a:lnTo>
                    <a:lnTo>
                      <a:pt x="777" y="586"/>
                    </a:lnTo>
                    <a:lnTo>
                      <a:pt x="769" y="577"/>
                    </a:lnTo>
                    <a:lnTo>
                      <a:pt x="761" y="570"/>
                    </a:lnTo>
                    <a:lnTo>
                      <a:pt x="753" y="562"/>
                    </a:lnTo>
                    <a:lnTo>
                      <a:pt x="743" y="556"/>
                    </a:lnTo>
                    <a:lnTo>
                      <a:pt x="733" y="549"/>
                    </a:lnTo>
                    <a:lnTo>
                      <a:pt x="722" y="544"/>
                    </a:lnTo>
                    <a:lnTo>
                      <a:pt x="711" y="539"/>
                    </a:lnTo>
                    <a:lnTo>
                      <a:pt x="699" y="535"/>
                    </a:lnTo>
                    <a:lnTo>
                      <a:pt x="686" y="532"/>
                    </a:lnTo>
                    <a:lnTo>
                      <a:pt x="673" y="528"/>
                    </a:lnTo>
                    <a:lnTo>
                      <a:pt x="659" y="526"/>
                    </a:lnTo>
                    <a:lnTo>
                      <a:pt x="645" y="525"/>
                    </a:lnTo>
                    <a:lnTo>
                      <a:pt x="630" y="525"/>
                    </a:lnTo>
                    <a:lnTo>
                      <a:pt x="615" y="525"/>
                    </a:lnTo>
                    <a:lnTo>
                      <a:pt x="602" y="526"/>
                    </a:lnTo>
                    <a:lnTo>
                      <a:pt x="590" y="527"/>
                    </a:lnTo>
                    <a:lnTo>
                      <a:pt x="578" y="529"/>
                    </a:lnTo>
                    <a:lnTo>
                      <a:pt x="566" y="532"/>
                    </a:lnTo>
                    <a:lnTo>
                      <a:pt x="554" y="535"/>
                    </a:lnTo>
                    <a:lnTo>
                      <a:pt x="543" y="538"/>
                    </a:lnTo>
                    <a:lnTo>
                      <a:pt x="533" y="543"/>
                    </a:lnTo>
                    <a:lnTo>
                      <a:pt x="512" y="552"/>
                    </a:lnTo>
                    <a:lnTo>
                      <a:pt x="492" y="563"/>
                    </a:lnTo>
                    <a:lnTo>
                      <a:pt x="474" y="576"/>
                    </a:lnTo>
                    <a:lnTo>
                      <a:pt x="456" y="591"/>
                    </a:lnTo>
                    <a:lnTo>
                      <a:pt x="439" y="606"/>
                    </a:lnTo>
                    <a:lnTo>
                      <a:pt x="421" y="622"/>
                    </a:lnTo>
                    <a:lnTo>
                      <a:pt x="404" y="640"/>
                    </a:lnTo>
                    <a:lnTo>
                      <a:pt x="388" y="657"/>
                    </a:lnTo>
                    <a:lnTo>
                      <a:pt x="352" y="695"/>
                    </a:lnTo>
                    <a:lnTo>
                      <a:pt x="315" y="734"/>
                    </a:lnTo>
                    <a:lnTo>
                      <a:pt x="313" y="717"/>
                    </a:lnTo>
                    <a:lnTo>
                      <a:pt x="312" y="701"/>
                    </a:lnTo>
                    <a:lnTo>
                      <a:pt x="310" y="684"/>
                    </a:lnTo>
                    <a:lnTo>
                      <a:pt x="306" y="669"/>
                    </a:lnTo>
                    <a:lnTo>
                      <a:pt x="301" y="655"/>
                    </a:lnTo>
                    <a:lnTo>
                      <a:pt x="296" y="641"/>
                    </a:lnTo>
                    <a:lnTo>
                      <a:pt x="289" y="626"/>
                    </a:lnTo>
                    <a:lnTo>
                      <a:pt x="283" y="613"/>
                    </a:lnTo>
                    <a:lnTo>
                      <a:pt x="275" y="601"/>
                    </a:lnTo>
                    <a:lnTo>
                      <a:pt x="267" y="588"/>
                    </a:lnTo>
                    <a:lnTo>
                      <a:pt x="258" y="576"/>
                    </a:lnTo>
                    <a:lnTo>
                      <a:pt x="248" y="565"/>
                    </a:lnTo>
                    <a:lnTo>
                      <a:pt x="227" y="544"/>
                    </a:lnTo>
                    <a:lnTo>
                      <a:pt x="204" y="522"/>
                    </a:lnTo>
                    <a:lnTo>
                      <a:pt x="181" y="502"/>
                    </a:lnTo>
                    <a:lnTo>
                      <a:pt x="154" y="482"/>
                    </a:lnTo>
                    <a:lnTo>
                      <a:pt x="128" y="462"/>
                    </a:lnTo>
                    <a:lnTo>
                      <a:pt x="102" y="442"/>
                    </a:lnTo>
                    <a:lnTo>
                      <a:pt x="76" y="423"/>
                    </a:lnTo>
                    <a:lnTo>
                      <a:pt x="50" y="402"/>
                    </a:lnTo>
                    <a:lnTo>
                      <a:pt x="24" y="380"/>
                    </a:lnTo>
                    <a:lnTo>
                      <a:pt x="0" y="357"/>
                    </a:lnTo>
                    <a:lnTo>
                      <a:pt x="24" y="341"/>
                    </a:lnTo>
                    <a:lnTo>
                      <a:pt x="46" y="322"/>
                    </a:lnTo>
                    <a:lnTo>
                      <a:pt x="70" y="304"/>
                    </a:lnTo>
                    <a:lnTo>
                      <a:pt x="93" y="283"/>
                    </a:lnTo>
                    <a:lnTo>
                      <a:pt x="116" y="262"/>
                    </a:lnTo>
                    <a:lnTo>
                      <a:pt x="138" y="241"/>
                    </a:lnTo>
                    <a:lnTo>
                      <a:pt x="160" y="218"/>
                    </a:lnTo>
                    <a:lnTo>
                      <a:pt x="181" y="194"/>
                    </a:lnTo>
                    <a:lnTo>
                      <a:pt x="201" y="171"/>
                    </a:lnTo>
                    <a:lnTo>
                      <a:pt x="221" y="146"/>
                    </a:lnTo>
                    <a:lnTo>
                      <a:pt x="239" y="122"/>
                    </a:lnTo>
                    <a:lnTo>
                      <a:pt x="257" y="97"/>
                    </a:lnTo>
                    <a:lnTo>
                      <a:pt x="273" y="73"/>
                    </a:lnTo>
                    <a:lnTo>
                      <a:pt x="288" y="48"/>
                    </a:lnTo>
                    <a:lnTo>
                      <a:pt x="301" y="24"/>
                    </a:lnTo>
                    <a:lnTo>
                      <a:pt x="315" y="0"/>
                    </a:lnTo>
                    <a:lnTo>
                      <a:pt x="524" y="22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4" name="Freeform 262"/>
              <p:cNvSpPr>
                <a:spLocks/>
              </p:cNvSpPr>
              <p:nvPr/>
            </p:nvSpPr>
            <p:spPr bwMode="auto">
              <a:xfrm>
                <a:off x="1819" y="2058"/>
                <a:ext cx="256" cy="193"/>
              </a:xfrm>
              <a:custGeom>
                <a:avLst/>
                <a:gdLst/>
                <a:ahLst/>
                <a:cxnLst>
                  <a:cxn ang="0">
                    <a:pos x="602" y="35"/>
                  </a:cxn>
                  <a:cxn ang="0">
                    <a:pos x="662" y="55"/>
                  </a:cxn>
                  <a:cxn ang="0">
                    <a:pos x="687" y="74"/>
                  </a:cxn>
                  <a:cxn ang="0">
                    <a:pos x="729" y="92"/>
                  </a:cxn>
                  <a:cxn ang="0">
                    <a:pos x="826" y="119"/>
                  </a:cxn>
                  <a:cxn ang="0">
                    <a:pos x="877" y="125"/>
                  </a:cxn>
                  <a:cxn ang="0">
                    <a:pos x="952" y="107"/>
                  </a:cxn>
                  <a:cxn ang="0">
                    <a:pos x="989" y="85"/>
                  </a:cxn>
                  <a:cxn ang="0">
                    <a:pos x="1090" y="63"/>
                  </a:cxn>
                  <a:cxn ang="0">
                    <a:pos x="1114" y="144"/>
                  </a:cxn>
                  <a:cxn ang="0">
                    <a:pos x="1154" y="218"/>
                  </a:cxn>
                  <a:cxn ang="0">
                    <a:pos x="1208" y="272"/>
                  </a:cxn>
                  <a:cxn ang="0">
                    <a:pos x="1242" y="289"/>
                  </a:cxn>
                  <a:cxn ang="0">
                    <a:pos x="1279" y="294"/>
                  </a:cxn>
                  <a:cxn ang="0">
                    <a:pos x="1279" y="441"/>
                  </a:cxn>
                  <a:cxn ang="0">
                    <a:pos x="1251" y="496"/>
                  </a:cxn>
                  <a:cxn ang="0">
                    <a:pos x="1239" y="538"/>
                  </a:cxn>
                  <a:cxn ang="0">
                    <a:pos x="1239" y="572"/>
                  </a:cxn>
                  <a:cxn ang="0">
                    <a:pos x="1262" y="636"/>
                  </a:cxn>
                  <a:cxn ang="0">
                    <a:pos x="1278" y="701"/>
                  </a:cxn>
                  <a:cxn ang="0">
                    <a:pos x="1282" y="761"/>
                  </a:cxn>
                  <a:cxn ang="0">
                    <a:pos x="1282" y="844"/>
                  </a:cxn>
                  <a:cxn ang="0">
                    <a:pos x="1278" y="910"/>
                  </a:cxn>
                  <a:cxn ang="0">
                    <a:pos x="1257" y="949"/>
                  </a:cxn>
                  <a:cxn ang="0">
                    <a:pos x="1165" y="967"/>
                  </a:cxn>
                  <a:cxn ang="0">
                    <a:pos x="1128" y="967"/>
                  </a:cxn>
                  <a:cxn ang="0">
                    <a:pos x="1084" y="953"/>
                  </a:cxn>
                  <a:cxn ang="0">
                    <a:pos x="1025" y="911"/>
                  </a:cxn>
                  <a:cxn ang="0">
                    <a:pos x="983" y="858"/>
                  </a:cxn>
                  <a:cxn ang="0">
                    <a:pos x="944" y="818"/>
                  </a:cxn>
                  <a:cxn ang="0">
                    <a:pos x="890" y="813"/>
                  </a:cxn>
                  <a:cxn ang="0">
                    <a:pos x="839" y="774"/>
                  </a:cxn>
                  <a:cxn ang="0">
                    <a:pos x="825" y="679"/>
                  </a:cxn>
                  <a:cxn ang="0">
                    <a:pos x="791" y="605"/>
                  </a:cxn>
                  <a:cxn ang="0">
                    <a:pos x="761" y="570"/>
                  </a:cxn>
                  <a:cxn ang="0">
                    <a:pos x="722" y="544"/>
                  </a:cxn>
                  <a:cxn ang="0">
                    <a:pos x="673" y="528"/>
                  </a:cxn>
                  <a:cxn ang="0">
                    <a:pos x="615" y="525"/>
                  </a:cxn>
                  <a:cxn ang="0">
                    <a:pos x="566" y="532"/>
                  </a:cxn>
                  <a:cxn ang="0">
                    <a:pos x="512" y="552"/>
                  </a:cxn>
                  <a:cxn ang="0">
                    <a:pos x="439" y="606"/>
                  </a:cxn>
                  <a:cxn ang="0">
                    <a:pos x="352" y="695"/>
                  </a:cxn>
                  <a:cxn ang="0">
                    <a:pos x="310" y="684"/>
                  </a:cxn>
                  <a:cxn ang="0">
                    <a:pos x="289" y="626"/>
                  </a:cxn>
                  <a:cxn ang="0">
                    <a:pos x="258" y="576"/>
                  </a:cxn>
                  <a:cxn ang="0">
                    <a:pos x="181" y="502"/>
                  </a:cxn>
                  <a:cxn ang="0">
                    <a:pos x="76" y="423"/>
                  </a:cxn>
                  <a:cxn ang="0">
                    <a:pos x="24" y="341"/>
                  </a:cxn>
                  <a:cxn ang="0">
                    <a:pos x="116" y="262"/>
                  </a:cxn>
                  <a:cxn ang="0">
                    <a:pos x="201" y="171"/>
                  </a:cxn>
                  <a:cxn ang="0">
                    <a:pos x="273" y="73"/>
                  </a:cxn>
                  <a:cxn ang="0">
                    <a:pos x="524" y="22"/>
                  </a:cxn>
                </a:cxnLst>
                <a:rect l="0" t="0" r="r" b="b"/>
                <a:pathLst>
                  <a:path w="1282" h="968">
                    <a:moveTo>
                      <a:pt x="524" y="22"/>
                    </a:moveTo>
                    <a:lnTo>
                      <a:pt x="554" y="25"/>
                    </a:lnTo>
                    <a:lnTo>
                      <a:pt x="579" y="30"/>
                    </a:lnTo>
                    <a:lnTo>
                      <a:pt x="602" y="35"/>
                    </a:lnTo>
                    <a:lnTo>
                      <a:pt x="621" y="40"/>
                    </a:lnTo>
                    <a:lnTo>
                      <a:pt x="637" y="46"/>
                    </a:lnTo>
                    <a:lnTo>
                      <a:pt x="651" y="50"/>
                    </a:lnTo>
                    <a:lnTo>
                      <a:pt x="662" y="55"/>
                    </a:lnTo>
                    <a:lnTo>
                      <a:pt x="671" y="61"/>
                    </a:lnTo>
                    <a:lnTo>
                      <a:pt x="679" y="65"/>
                    </a:lnTo>
                    <a:lnTo>
                      <a:pt x="683" y="69"/>
                    </a:lnTo>
                    <a:lnTo>
                      <a:pt x="687" y="74"/>
                    </a:lnTo>
                    <a:lnTo>
                      <a:pt x="689" y="77"/>
                    </a:lnTo>
                    <a:lnTo>
                      <a:pt x="692" y="83"/>
                    </a:lnTo>
                    <a:lnTo>
                      <a:pt x="692" y="84"/>
                    </a:lnTo>
                    <a:lnTo>
                      <a:pt x="729" y="92"/>
                    </a:lnTo>
                    <a:lnTo>
                      <a:pt x="759" y="99"/>
                    </a:lnTo>
                    <a:lnTo>
                      <a:pt x="785" y="107"/>
                    </a:lnTo>
                    <a:lnTo>
                      <a:pt x="807" y="113"/>
                    </a:lnTo>
                    <a:lnTo>
                      <a:pt x="826" y="119"/>
                    </a:lnTo>
                    <a:lnTo>
                      <a:pt x="840" y="123"/>
                    </a:lnTo>
                    <a:lnTo>
                      <a:pt x="851" y="125"/>
                    </a:lnTo>
                    <a:lnTo>
                      <a:pt x="859" y="126"/>
                    </a:lnTo>
                    <a:lnTo>
                      <a:pt x="877" y="125"/>
                    </a:lnTo>
                    <a:lnTo>
                      <a:pt x="898" y="122"/>
                    </a:lnTo>
                    <a:lnTo>
                      <a:pt x="919" y="117"/>
                    </a:lnTo>
                    <a:lnTo>
                      <a:pt x="941" y="110"/>
                    </a:lnTo>
                    <a:lnTo>
                      <a:pt x="952" y="107"/>
                    </a:lnTo>
                    <a:lnTo>
                      <a:pt x="962" y="101"/>
                    </a:lnTo>
                    <a:lnTo>
                      <a:pt x="972" y="97"/>
                    </a:lnTo>
                    <a:lnTo>
                      <a:pt x="980" y="90"/>
                    </a:lnTo>
                    <a:lnTo>
                      <a:pt x="989" y="85"/>
                    </a:lnTo>
                    <a:lnTo>
                      <a:pt x="996" y="78"/>
                    </a:lnTo>
                    <a:lnTo>
                      <a:pt x="1002" y="71"/>
                    </a:lnTo>
                    <a:lnTo>
                      <a:pt x="1007" y="63"/>
                    </a:lnTo>
                    <a:lnTo>
                      <a:pt x="1090" y="63"/>
                    </a:lnTo>
                    <a:lnTo>
                      <a:pt x="1095" y="83"/>
                    </a:lnTo>
                    <a:lnTo>
                      <a:pt x="1100" y="103"/>
                    </a:lnTo>
                    <a:lnTo>
                      <a:pt x="1107" y="123"/>
                    </a:lnTo>
                    <a:lnTo>
                      <a:pt x="1114" y="144"/>
                    </a:lnTo>
                    <a:lnTo>
                      <a:pt x="1122" y="163"/>
                    </a:lnTo>
                    <a:lnTo>
                      <a:pt x="1132" y="182"/>
                    </a:lnTo>
                    <a:lnTo>
                      <a:pt x="1143" y="200"/>
                    </a:lnTo>
                    <a:lnTo>
                      <a:pt x="1154" y="218"/>
                    </a:lnTo>
                    <a:lnTo>
                      <a:pt x="1166" y="234"/>
                    </a:lnTo>
                    <a:lnTo>
                      <a:pt x="1179" y="248"/>
                    </a:lnTo>
                    <a:lnTo>
                      <a:pt x="1193" y="261"/>
                    </a:lnTo>
                    <a:lnTo>
                      <a:pt x="1208" y="272"/>
                    </a:lnTo>
                    <a:lnTo>
                      <a:pt x="1217" y="278"/>
                    </a:lnTo>
                    <a:lnTo>
                      <a:pt x="1225" y="282"/>
                    </a:lnTo>
                    <a:lnTo>
                      <a:pt x="1233" y="285"/>
                    </a:lnTo>
                    <a:lnTo>
                      <a:pt x="1242" y="289"/>
                    </a:lnTo>
                    <a:lnTo>
                      <a:pt x="1251" y="291"/>
                    </a:lnTo>
                    <a:lnTo>
                      <a:pt x="1261" y="293"/>
                    </a:lnTo>
                    <a:lnTo>
                      <a:pt x="1270" y="294"/>
                    </a:lnTo>
                    <a:lnTo>
                      <a:pt x="1279" y="294"/>
                    </a:lnTo>
                    <a:lnTo>
                      <a:pt x="1279" y="338"/>
                    </a:lnTo>
                    <a:lnTo>
                      <a:pt x="1279" y="375"/>
                    </a:lnTo>
                    <a:lnTo>
                      <a:pt x="1279" y="408"/>
                    </a:lnTo>
                    <a:lnTo>
                      <a:pt x="1279" y="441"/>
                    </a:lnTo>
                    <a:lnTo>
                      <a:pt x="1270" y="456"/>
                    </a:lnTo>
                    <a:lnTo>
                      <a:pt x="1263" y="471"/>
                    </a:lnTo>
                    <a:lnTo>
                      <a:pt x="1256" y="484"/>
                    </a:lnTo>
                    <a:lnTo>
                      <a:pt x="1251" y="496"/>
                    </a:lnTo>
                    <a:lnTo>
                      <a:pt x="1246" y="508"/>
                    </a:lnTo>
                    <a:lnTo>
                      <a:pt x="1242" y="519"/>
                    </a:lnTo>
                    <a:lnTo>
                      <a:pt x="1240" y="528"/>
                    </a:lnTo>
                    <a:lnTo>
                      <a:pt x="1239" y="538"/>
                    </a:lnTo>
                    <a:lnTo>
                      <a:pt x="1238" y="547"/>
                    </a:lnTo>
                    <a:lnTo>
                      <a:pt x="1238" y="556"/>
                    </a:lnTo>
                    <a:lnTo>
                      <a:pt x="1238" y="564"/>
                    </a:lnTo>
                    <a:lnTo>
                      <a:pt x="1239" y="572"/>
                    </a:lnTo>
                    <a:lnTo>
                      <a:pt x="1243" y="588"/>
                    </a:lnTo>
                    <a:lnTo>
                      <a:pt x="1249" y="604"/>
                    </a:lnTo>
                    <a:lnTo>
                      <a:pt x="1254" y="620"/>
                    </a:lnTo>
                    <a:lnTo>
                      <a:pt x="1262" y="636"/>
                    </a:lnTo>
                    <a:lnTo>
                      <a:pt x="1268" y="656"/>
                    </a:lnTo>
                    <a:lnTo>
                      <a:pt x="1274" y="677"/>
                    </a:lnTo>
                    <a:lnTo>
                      <a:pt x="1276" y="689"/>
                    </a:lnTo>
                    <a:lnTo>
                      <a:pt x="1278" y="701"/>
                    </a:lnTo>
                    <a:lnTo>
                      <a:pt x="1280" y="715"/>
                    </a:lnTo>
                    <a:lnTo>
                      <a:pt x="1281" y="729"/>
                    </a:lnTo>
                    <a:lnTo>
                      <a:pt x="1282" y="744"/>
                    </a:lnTo>
                    <a:lnTo>
                      <a:pt x="1282" y="761"/>
                    </a:lnTo>
                    <a:lnTo>
                      <a:pt x="1281" y="778"/>
                    </a:lnTo>
                    <a:lnTo>
                      <a:pt x="1279" y="798"/>
                    </a:lnTo>
                    <a:lnTo>
                      <a:pt x="1280" y="821"/>
                    </a:lnTo>
                    <a:lnTo>
                      <a:pt x="1282" y="844"/>
                    </a:lnTo>
                    <a:lnTo>
                      <a:pt x="1282" y="867"/>
                    </a:lnTo>
                    <a:lnTo>
                      <a:pt x="1282" y="889"/>
                    </a:lnTo>
                    <a:lnTo>
                      <a:pt x="1281" y="900"/>
                    </a:lnTo>
                    <a:lnTo>
                      <a:pt x="1278" y="910"/>
                    </a:lnTo>
                    <a:lnTo>
                      <a:pt x="1275" y="921"/>
                    </a:lnTo>
                    <a:lnTo>
                      <a:pt x="1270" y="931"/>
                    </a:lnTo>
                    <a:lnTo>
                      <a:pt x="1265" y="939"/>
                    </a:lnTo>
                    <a:lnTo>
                      <a:pt x="1257" y="949"/>
                    </a:lnTo>
                    <a:lnTo>
                      <a:pt x="1249" y="957"/>
                    </a:lnTo>
                    <a:lnTo>
                      <a:pt x="1238" y="965"/>
                    </a:lnTo>
                    <a:lnTo>
                      <a:pt x="1174" y="965"/>
                    </a:lnTo>
                    <a:lnTo>
                      <a:pt x="1165" y="967"/>
                    </a:lnTo>
                    <a:lnTo>
                      <a:pt x="1155" y="968"/>
                    </a:lnTo>
                    <a:lnTo>
                      <a:pt x="1146" y="968"/>
                    </a:lnTo>
                    <a:lnTo>
                      <a:pt x="1136" y="968"/>
                    </a:lnTo>
                    <a:lnTo>
                      <a:pt x="1128" y="967"/>
                    </a:lnTo>
                    <a:lnTo>
                      <a:pt x="1118" y="965"/>
                    </a:lnTo>
                    <a:lnTo>
                      <a:pt x="1109" y="963"/>
                    </a:lnTo>
                    <a:lnTo>
                      <a:pt x="1100" y="960"/>
                    </a:lnTo>
                    <a:lnTo>
                      <a:pt x="1084" y="953"/>
                    </a:lnTo>
                    <a:lnTo>
                      <a:pt x="1068" y="945"/>
                    </a:lnTo>
                    <a:lnTo>
                      <a:pt x="1052" y="935"/>
                    </a:lnTo>
                    <a:lnTo>
                      <a:pt x="1038" y="923"/>
                    </a:lnTo>
                    <a:lnTo>
                      <a:pt x="1025" y="911"/>
                    </a:lnTo>
                    <a:lnTo>
                      <a:pt x="1013" y="898"/>
                    </a:lnTo>
                    <a:lnTo>
                      <a:pt x="1001" y="885"/>
                    </a:lnTo>
                    <a:lnTo>
                      <a:pt x="991" y="871"/>
                    </a:lnTo>
                    <a:lnTo>
                      <a:pt x="983" y="858"/>
                    </a:lnTo>
                    <a:lnTo>
                      <a:pt x="976" y="843"/>
                    </a:lnTo>
                    <a:lnTo>
                      <a:pt x="970" y="830"/>
                    </a:lnTo>
                    <a:lnTo>
                      <a:pt x="965" y="818"/>
                    </a:lnTo>
                    <a:lnTo>
                      <a:pt x="944" y="818"/>
                    </a:lnTo>
                    <a:lnTo>
                      <a:pt x="927" y="818"/>
                    </a:lnTo>
                    <a:lnTo>
                      <a:pt x="914" y="817"/>
                    </a:lnTo>
                    <a:lnTo>
                      <a:pt x="902" y="816"/>
                    </a:lnTo>
                    <a:lnTo>
                      <a:pt x="890" y="813"/>
                    </a:lnTo>
                    <a:lnTo>
                      <a:pt x="876" y="810"/>
                    </a:lnTo>
                    <a:lnTo>
                      <a:pt x="859" y="804"/>
                    </a:lnTo>
                    <a:lnTo>
                      <a:pt x="839" y="798"/>
                    </a:lnTo>
                    <a:lnTo>
                      <a:pt x="839" y="774"/>
                    </a:lnTo>
                    <a:lnTo>
                      <a:pt x="837" y="750"/>
                    </a:lnTo>
                    <a:lnTo>
                      <a:pt x="834" y="726"/>
                    </a:lnTo>
                    <a:lnTo>
                      <a:pt x="830" y="702"/>
                    </a:lnTo>
                    <a:lnTo>
                      <a:pt x="825" y="679"/>
                    </a:lnTo>
                    <a:lnTo>
                      <a:pt x="817" y="656"/>
                    </a:lnTo>
                    <a:lnTo>
                      <a:pt x="808" y="634"/>
                    </a:lnTo>
                    <a:lnTo>
                      <a:pt x="797" y="613"/>
                    </a:lnTo>
                    <a:lnTo>
                      <a:pt x="791" y="605"/>
                    </a:lnTo>
                    <a:lnTo>
                      <a:pt x="784" y="595"/>
                    </a:lnTo>
                    <a:lnTo>
                      <a:pt x="777" y="586"/>
                    </a:lnTo>
                    <a:lnTo>
                      <a:pt x="769" y="577"/>
                    </a:lnTo>
                    <a:lnTo>
                      <a:pt x="761" y="570"/>
                    </a:lnTo>
                    <a:lnTo>
                      <a:pt x="753" y="562"/>
                    </a:lnTo>
                    <a:lnTo>
                      <a:pt x="743" y="556"/>
                    </a:lnTo>
                    <a:lnTo>
                      <a:pt x="733" y="549"/>
                    </a:lnTo>
                    <a:lnTo>
                      <a:pt x="722" y="544"/>
                    </a:lnTo>
                    <a:lnTo>
                      <a:pt x="711" y="539"/>
                    </a:lnTo>
                    <a:lnTo>
                      <a:pt x="699" y="535"/>
                    </a:lnTo>
                    <a:lnTo>
                      <a:pt x="686" y="532"/>
                    </a:lnTo>
                    <a:lnTo>
                      <a:pt x="673" y="528"/>
                    </a:lnTo>
                    <a:lnTo>
                      <a:pt x="659" y="526"/>
                    </a:lnTo>
                    <a:lnTo>
                      <a:pt x="645" y="525"/>
                    </a:lnTo>
                    <a:lnTo>
                      <a:pt x="630" y="525"/>
                    </a:lnTo>
                    <a:lnTo>
                      <a:pt x="615" y="525"/>
                    </a:lnTo>
                    <a:lnTo>
                      <a:pt x="602" y="526"/>
                    </a:lnTo>
                    <a:lnTo>
                      <a:pt x="590" y="527"/>
                    </a:lnTo>
                    <a:lnTo>
                      <a:pt x="578" y="529"/>
                    </a:lnTo>
                    <a:lnTo>
                      <a:pt x="566" y="532"/>
                    </a:lnTo>
                    <a:lnTo>
                      <a:pt x="554" y="535"/>
                    </a:lnTo>
                    <a:lnTo>
                      <a:pt x="543" y="538"/>
                    </a:lnTo>
                    <a:lnTo>
                      <a:pt x="533" y="543"/>
                    </a:lnTo>
                    <a:lnTo>
                      <a:pt x="512" y="552"/>
                    </a:lnTo>
                    <a:lnTo>
                      <a:pt x="492" y="563"/>
                    </a:lnTo>
                    <a:lnTo>
                      <a:pt x="474" y="576"/>
                    </a:lnTo>
                    <a:lnTo>
                      <a:pt x="456" y="591"/>
                    </a:lnTo>
                    <a:lnTo>
                      <a:pt x="439" y="606"/>
                    </a:lnTo>
                    <a:lnTo>
                      <a:pt x="421" y="622"/>
                    </a:lnTo>
                    <a:lnTo>
                      <a:pt x="404" y="640"/>
                    </a:lnTo>
                    <a:lnTo>
                      <a:pt x="388" y="657"/>
                    </a:lnTo>
                    <a:lnTo>
                      <a:pt x="352" y="695"/>
                    </a:lnTo>
                    <a:lnTo>
                      <a:pt x="315" y="734"/>
                    </a:lnTo>
                    <a:lnTo>
                      <a:pt x="313" y="717"/>
                    </a:lnTo>
                    <a:lnTo>
                      <a:pt x="312" y="701"/>
                    </a:lnTo>
                    <a:lnTo>
                      <a:pt x="310" y="684"/>
                    </a:lnTo>
                    <a:lnTo>
                      <a:pt x="306" y="669"/>
                    </a:lnTo>
                    <a:lnTo>
                      <a:pt x="301" y="655"/>
                    </a:lnTo>
                    <a:lnTo>
                      <a:pt x="296" y="641"/>
                    </a:lnTo>
                    <a:lnTo>
                      <a:pt x="289" y="626"/>
                    </a:lnTo>
                    <a:lnTo>
                      <a:pt x="283" y="613"/>
                    </a:lnTo>
                    <a:lnTo>
                      <a:pt x="275" y="601"/>
                    </a:lnTo>
                    <a:lnTo>
                      <a:pt x="267" y="588"/>
                    </a:lnTo>
                    <a:lnTo>
                      <a:pt x="258" y="576"/>
                    </a:lnTo>
                    <a:lnTo>
                      <a:pt x="248" y="565"/>
                    </a:lnTo>
                    <a:lnTo>
                      <a:pt x="227" y="544"/>
                    </a:lnTo>
                    <a:lnTo>
                      <a:pt x="204" y="522"/>
                    </a:lnTo>
                    <a:lnTo>
                      <a:pt x="181" y="502"/>
                    </a:lnTo>
                    <a:lnTo>
                      <a:pt x="154" y="482"/>
                    </a:lnTo>
                    <a:lnTo>
                      <a:pt x="128" y="462"/>
                    </a:lnTo>
                    <a:lnTo>
                      <a:pt x="102" y="442"/>
                    </a:lnTo>
                    <a:lnTo>
                      <a:pt x="76" y="423"/>
                    </a:lnTo>
                    <a:lnTo>
                      <a:pt x="50" y="402"/>
                    </a:lnTo>
                    <a:lnTo>
                      <a:pt x="24" y="380"/>
                    </a:lnTo>
                    <a:lnTo>
                      <a:pt x="0" y="357"/>
                    </a:lnTo>
                    <a:lnTo>
                      <a:pt x="24" y="341"/>
                    </a:lnTo>
                    <a:lnTo>
                      <a:pt x="46" y="322"/>
                    </a:lnTo>
                    <a:lnTo>
                      <a:pt x="70" y="304"/>
                    </a:lnTo>
                    <a:lnTo>
                      <a:pt x="93" y="283"/>
                    </a:lnTo>
                    <a:lnTo>
                      <a:pt x="116" y="262"/>
                    </a:lnTo>
                    <a:lnTo>
                      <a:pt x="138" y="241"/>
                    </a:lnTo>
                    <a:lnTo>
                      <a:pt x="160" y="218"/>
                    </a:lnTo>
                    <a:lnTo>
                      <a:pt x="181" y="194"/>
                    </a:lnTo>
                    <a:lnTo>
                      <a:pt x="201" y="171"/>
                    </a:lnTo>
                    <a:lnTo>
                      <a:pt x="221" y="146"/>
                    </a:lnTo>
                    <a:lnTo>
                      <a:pt x="239" y="122"/>
                    </a:lnTo>
                    <a:lnTo>
                      <a:pt x="257" y="97"/>
                    </a:lnTo>
                    <a:lnTo>
                      <a:pt x="273" y="73"/>
                    </a:lnTo>
                    <a:lnTo>
                      <a:pt x="288" y="48"/>
                    </a:lnTo>
                    <a:lnTo>
                      <a:pt x="301" y="24"/>
                    </a:lnTo>
                    <a:lnTo>
                      <a:pt x="315" y="0"/>
                    </a:lnTo>
                    <a:lnTo>
                      <a:pt x="524" y="22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5" name="Freeform 263"/>
              <p:cNvSpPr>
                <a:spLocks/>
              </p:cNvSpPr>
              <p:nvPr/>
            </p:nvSpPr>
            <p:spPr bwMode="auto">
              <a:xfrm>
                <a:off x="1882" y="2163"/>
                <a:ext cx="105" cy="125"/>
              </a:xfrm>
              <a:custGeom>
                <a:avLst/>
                <a:gdLst/>
                <a:ahLst/>
                <a:cxnLst>
                  <a:cxn ang="0">
                    <a:pos x="37" y="170"/>
                  </a:cxn>
                  <a:cxn ang="0">
                    <a:pos x="89" y="115"/>
                  </a:cxn>
                  <a:cxn ang="0">
                    <a:pos x="124" y="81"/>
                  </a:cxn>
                  <a:cxn ang="0">
                    <a:pos x="159" y="51"/>
                  </a:cxn>
                  <a:cxn ang="0">
                    <a:pos x="197" y="27"/>
                  </a:cxn>
                  <a:cxn ang="0">
                    <a:pos x="228" y="13"/>
                  </a:cxn>
                  <a:cxn ang="0">
                    <a:pos x="251" y="7"/>
                  </a:cxn>
                  <a:cxn ang="0">
                    <a:pos x="275" y="2"/>
                  </a:cxn>
                  <a:cxn ang="0">
                    <a:pos x="300" y="0"/>
                  </a:cxn>
                  <a:cxn ang="0">
                    <a:pos x="330" y="0"/>
                  </a:cxn>
                  <a:cxn ang="0">
                    <a:pos x="358" y="3"/>
                  </a:cxn>
                  <a:cxn ang="0">
                    <a:pos x="384" y="10"/>
                  </a:cxn>
                  <a:cxn ang="0">
                    <a:pos x="407" y="19"/>
                  </a:cxn>
                  <a:cxn ang="0">
                    <a:pos x="428" y="31"/>
                  </a:cxn>
                  <a:cxn ang="0">
                    <a:pos x="446" y="45"/>
                  </a:cxn>
                  <a:cxn ang="0">
                    <a:pos x="462" y="61"/>
                  </a:cxn>
                  <a:cxn ang="0">
                    <a:pos x="476" y="80"/>
                  </a:cxn>
                  <a:cxn ang="0">
                    <a:pos x="493" y="109"/>
                  </a:cxn>
                  <a:cxn ang="0">
                    <a:pos x="510" y="154"/>
                  </a:cxn>
                  <a:cxn ang="0">
                    <a:pos x="519" y="201"/>
                  </a:cxn>
                  <a:cxn ang="0">
                    <a:pos x="524" y="249"/>
                  </a:cxn>
                  <a:cxn ang="0">
                    <a:pos x="503" y="317"/>
                  </a:cxn>
                  <a:cxn ang="0">
                    <a:pos x="467" y="397"/>
                  </a:cxn>
                  <a:cxn ang="0">
                    <a:pos x="437" y="455"/>
                  </a:cxn>
                  <a:cxn ang="0">
                    <a:pos x="408" y="497"/>
                  </a:cxn>
                  <a:cxn ang="0">
                    <a:pos x="371" y="545"/>
                  </a:cxn>
                  <a:cxn ang="0">
                    <a:pos x="323" y="599"/>
                  </a:cxn>
                  <a:cxn ang="0">
                    <a:pos x="252" y="603"/>
                  </a:cxn>
                  <a:cxn ang="0">
                    <a:pos x="187" y="554"/>
                  </a:cxn>
                  <a:cxn ang="0">
                    <a:pos x="150" y="520"/>
                  </a:cxn>
                  <a:cxn ang="0">
                    <a:pos x="130" y="498"/>
                  </a:cxn>
                  <a:cxn ang="0">
                    <a:pos x="105" y="466"/>
                  </a:cxn>
                  <a:cxn ang="0">
                    <a:pos x="79" y="420"/>
                  </a:cxn>
                  <a:cxn ang="0">
                    <a:pos x="58" y="371"/>
                  </a:cxn>
                  <a:cxn ang="0">
                    <a:pos x="27" y="281"/>
                  </a:cxn>
                </a:cxnLst>
                <a:rect l="0" t="0" r="r" b="b"/>
                <a:pathLst>
                  <a:path w="524" h="629">
                    <a:moveTo>
                      <a:pt x="0" y="209"/>
                    </a:moveTo>
                    <a:lnTo>
                      <a:pt x="37" y="170"/>
                    </a:lnTo>
                    <a:lnTo>
                      <a:pt x="73" y="132"/>
                    </a:lnTo>
                    <a:lnTo>
                      <a:pt x="89" y="115"/>
                    </a:lnTo>
                    <a:lnTo>
                      <a:pt x="106" y="97"/>
                    </a:lnTo>
                    <a:lnTo>
                      <a:pt x="124" y="81"/>
                    </a:lnTo>
                    <a:lnTo>
                      <a:pt x="141" y="66"/>
                    </a:lnTo>
                    <a:lnTo>
                      <a:pt x="159" y="51"/>
                    </a:lnTo>
                    <a:lnTo>
                      <a:pt x="177" y="38"/>
                    </a:lnTo>
                    <a:lnTo>
                      <a:pt x="197" y="27"/>
                    </a:lnTo>
                    <a:lnTo>
                      <a:pt x="218" y="18"/>
                    </a:lnTo>
                    <a:lnTo>
                      <a:pt x="228" y="13"/>
                    </a:lnTo>
                    <a:lnTo>
                      <a:pt x="239" y="10"/>
                    </a:lnTo>
                    <a:lnTo>
                      <a:pt x="251" y="7"/>
                    </a:lnTo>
                    <a:lnTo>
                      <a:pt x="263" y="4"/>
                    </a:lnTo>
                    <a:lnTo>
                      <a:pt x="275" y="2"/>
                    </a:lnTo>
                    <a:lnTo>
                      <a:pt x="287" y="1"/>
                    </a:lnTo>
                    <a:lnTo>
                      <a:pt x="300" y="0"/>
                    </a:lnTo>
                    <a:lnTo>
                      <a:pt x="315" y="0"/>
                    </a:lnTo>
                    <a:lnTo>
                      <a:pt x="330" y="0"/>
                    </a:lnTo>
                    <a:lnTo>
                      <a:pt x="344" y="1"/>
                    </a:lnTo>
                    <a:lnTo>
                      <a:pt x="358" y="3"/>
                    </a:lnTo>
                    <a:lnTo>
                      <a:pt x="371" y="7"/>
                    </a:lnTo>
                    <a:lnTo>
                      <a:pt x="384" y="10"/>
                    </a:lnTo>
                    <a:lnTo>
                      <a:pt x="396" y="14"/>
                    </a:lnTo>
                    <a:lnTo>
                      <a:pt x="407" y="19"/>
                    </a:lnTo>
                    <a:lnTo>
                      <a:pt x="418" y="24"/>
                    </a:lnTo>
                    <a:lnTo>
                      <a:pt x="428" y="31"/>
                    </a:lnTo>
                    <a:lnTo>
                      <a:pt x="438" y="37"/>
                    </a:lnTo>
                    <a:lnTo>
                      <a:pt x="446" y="45"/>
                    </a:lnTo>
                    <a:lnTo>
                      <a:pt x="454" y="52"/>
                    </a:lnTo>
                    <a:lnTo>
                      <a:pt x="462" y="61"/>
                    </a:lnTo>
                    <a:lnTo>
                      <a:pt x="469" y="70"/>
                    </a:lnTo>
                    <a:lnTo>
                      <a:pt x="476" y="80"/>
                    </a:lnTo>
                    <a:lnTo>
                      <a:pt x="482" y="88"/>
                    </a:lnTo>
                    <a:lnTo>
                      <a:pt x="493" y="109"/>
                    </a:lnTo>
                    <a:lnTo>
                      <a:pt x="502" y="131"/>
                    </a:lnTo>
                    <a:lnTo>
                      <a:pt x="510" y="154"/>
                    </a:lnTo>
                    <a:lnTo>
                      <a:pt x="515" y="177"/>
                    </a:lnTo>
                    <a:lnTo>
                      <a:pt x="519" y="201"/>
                    </a:lnTo>
                    <a:lnTo>
                      <a:pt x="522" y="225"/>
                    </a:lnTo>
                    <a:lnTo>
                      <a:pt x="524" y="249"/>
                    </a:lnTo>
                    <a:lnTo>
                      <a:pt x="524" y="273"/>
                    </a:lnTo>
                    <a:lnTo>
                      <a:pt x="503" y="317"/>
                    </a:lnTo>
                    <a:lnTo>
                      <a:pt x="485" y="358"/>
                    </a:lnTo>
                    <a:lnTo>
                      <a:pt x="467" y="397"/>
                    </a:lnTo>
                    <a:lnTo>
                      <a:pt x="447" y="435"/>
                    </a:lnTo>
                    <a:lnTo>
                      <a:pt x="437" y="455"/>
                    </a:lnTo>
                    <a:lnTo>
                      <a:pt x="423" y="475"/>
                    </a:lnTo>
                    <a:lnTo>
                      <a:pt x="408" y="497"/>
                    </a:lnTo>
                    <a:lnTo>
                      <a:pt x="391" y="520"/>
                    </a:lnTo>
                    <a:lnTo>
                      <a:pt x="371" y="545"/>
                    </a:lnTo>
                    <a:lnTo>
                      <a:pt x="348" y="571"/>
                    </a:lnTo>
                    <a:lnTo>
                      <a:pt x="323" y="599"/>
                    </a:lnTo>
                    <a:lnTo>
                      <a:pt x="293" y="629"/>
                    </a:lnTo>
                    <a:lnTo>
                      <a:pt x="252" y="603"/>
                    </a:lnTo>
                    <a:lnTo>
                      <a:pt x="218" y="578"/>
                    </a:lnTo>
                    <a:lnTo>
                      <a:pt x="187" y="554"/>
                    </a:lnTo>
                    <a:lnTo>
                      <a:pt x="162" y="531"/>
                    </a:lnTo>
                    <a:lnTo>
                      <a:pt x="150" y="520"/>
                    </a:lnTo>
                    <a:lnTo>
                      <a:pt x="140" y="509"/>
                    </a:lnTo>
                    <a:lnTo>
                      <a:pt x="130" y="498"/>
                    </a:lnTo>
                    <a:lnTo>
                      <a:pt x="121" y="487"/>
                    </a:lnTo>
                    <a:lnTo>
                      <a:pt x="105" y="466"/>
                    </a:lnTo>
                    <a:lnTo>
                      <a:pt x="91" y="443"/>
                    </a:lnTo>
                    <a:lnTo>
                      <a:pt x="79" y="420"/>
                    </a:lnTo>
                    <a:lnTo>
                      <a:pt x="68" y="396"/>
                    </a:lnTo>
                    <a:lnTo>
                      <a:pt x="58" y="371"/>
                    </a:lnTo>
                    <a:lnTo>
                      <a:pt x="49" y="343"/>
                    </a:lnTo>
                    <a:lnTo>
                      <a:pt x="27" y="281"/>
                    </a:lnTo>
                    <a:lnTo>
                      <a:pt x="0" y="209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6" name="Freeform 264"/>
              <p:cNvSpPr>
                <a:spLocks/>
              </p:cNvSpPr>
              <p:nvPr/>
            </p:nvSpPr>
            <p:spPr bwMode="auto">
              <a:xfrm>
                <a:off x="1882" y="2163"/>
                <a:ext cx="105" cy="125"/>
              </a:xfrm>
              <a:custGeom>
                <a:avLst/>
                <a:gdLst/>
                <a:ahLst/>
                <a:cxnLst>
                  <a:cxn ang="0">
                    <a:pos x="37" y="170"/>
                  </a:cxn>
                  <a:cxn ang="0">
                    <a:pos x="89" y="115"/>
                  </a:cxn>
                  <a:cxn ang="0">
                    <a:pos x="124" y="81"/>
                  </a:cxn>
                  <a:cxn ang="0">
                    <a:pos x="159" y="51"/>
                  </a:cxn>
                  <a:cxn ang="0">
                    <a:pos x="197" y="27"/>
                  </a:cxn>
                  <a:cxn ang="0">
                    <a:pos x="228" y="13"/>
                  </a:cxn>
                  <a:cxn ang="0">
                    <a:pos x="251" y="7"/>
                  </a:cxn>
                  <a:cxn ang="0">
                    <a:pos x="275" y="2"/>
                  </a:cxn>
                  <a:cxn ang="0">
                    <a:pos x="300" y="0"/>
                  </a:cxn>
                  <a:cxn ang="0">
                    <a:pos x="330" y="0"/>
                  </a:cxn>
                  <a:cxn ang="0">
                    <a:pos x="358" y="3"/>
                  </a:cxn>
                  <a:cxn ang="0">
                    <a:pos x="384" y="10"/>
                  </a:cxn>
                  <a:cxn ang="0">
                    <a:pos x="407" y="19"/>
                  </a:cxn>
                  <a:cxn ang="0">
                    <a:pos x="428" y="31"/>
                  </a:cxn>
                  <a:cxn ang="0">
                    <a:pos x="446" y="45"/>
                  </a:cxn>
                  <a:cxn ang="0">
                    <a:pos x="462" y="61"/>
                  </a:cxn>
                  <a:cxn ang="0">
                    <a:pos x="476" y="80"/>
                  </a:cxn>
                  <a:cxn ang="0">
                    <a:pos x="493" y="109"/>
                  </a:cxn>
                  <a:cxn ang="0">
                    <a:pos x="510" y="154"/>
                  </a:cxn>
                  <a:cxn ang="0">
                    <a:pos x="519" y="201"/>
                  </a:cxn>
                  <a:cxn ang="0">
                    <a:pos x="524" y="249"/>
                  </a:cxn>
                  <a:cxn ang="0">
                    <a:pos x="503" y="317"/>
                  </a:cxn>
                  <a:cxn ang="0">
                    <a:pos x="467" y="397"/>
                  </a:cxn>
                  <a:cxn ang="0">
                    <a:pos x="437" y="455"/>
                  </a:cxn>
                  <a:cxn ang="0">
                    <a:pos x="408" y="497"/>
                  </a:cxn>
                  <a:cxn ang="0">
                    <a:pos x="371" y="545"/>
                  </a:cxn>
                  <a:cxn ang="0">
                    <a:pos x="323" y="599"/>
                  </a:cxn>
                  <a:cxn ang="0">
                    <a:pos x="252" y="603"/>
                  </a:cxn>
                  <a:cxn ang="0">
                    <a:pos x="187" y="554"/>
                  </a:cxn>
                  <a:cxn ang="0">
                    <a:pos x="150" y="520"/>
                  </a:cxn>
                  <a:cxn ang="0">
                    <a:pos x="130" y="498"/>
                  </a:cxn>
                  <a:cxn ang="0">
                    <a:pos x="105" y="466"/>
                  </a:cxn>
                  <a:cxn ang="0">
                    <a:pos x="79" y="420"/>
                  </a:cxn>
                  <a:cxn ang="0">
                    <a:pos x="58" y="371"/>
                  </a:cxn>
                  <a:cxn ang="0">
                    <a:pos x="27" y="281"/>
                  </a:cxn>
                </a:cxnLst>
                <a:rect l="0" t="0" r="r" b="b"/>
                <a:pathLst>
                  <a:path w="524" h="629">
                    <a:moveTo>
                      <a:pt x="0" y="209"/>
                    </a:moveTo>
                    <a:lnTo>
                      <a:pt x="37" y="170"/>
                    </a:lnTo>
                    <a:lnTo>
                      <a:pt x="73" y="132"/>
                    </a:lnTo>
                    <a:lnTo>
                      <a:pt x="89" y="115"/>
                    </a:lnTo>
                    <a:lnTo>
                      <a:pt x="106" y="97"/>
                    </a:lnTo>
                    <a:lnTo>
                      <a:pt x="124" y="81"/>
                    </a:lnTo>
                    <a:lnTo>
                      <a:pt x="141" y="66"/>
                    </a:lnTo>
                    <a:lnTo>
                      <a:pt x="159" y="51"/>
                    </a:lnTo>
                    <a:lnTo>
                      <a:pt x="177" y="38"/>
                    </a:lnTo>
                    <a:lnTo>
                      <a:pt x="197" y="27"/>
                    </a:lnTo>
                    <a:lnTo>
                      <a:pt x="218" y="18"/>
                    </a:lnTo>
                    <a:lnTo>
                      <a:pt x="228" y="13"/>
                    </a:lnTo>
                    <a:lnTo>
                      <a:pt x="239" y="10"/>
                    </a:lnTo>
                    <a:lnTo>
                      <a:pt x="251" y="7"/>
                    </a:lnTo>
                    <a:lnTo>
                      <a:pt x="263" y="4"/>
                    </a:lnTo>
                    <a:lnTo>
                      <a:pt x="275" y="2"/>
                    </a:lnTo>
                    <a:lnTo>
                      <a:pt x="287" y="1"/>
                    </a:lnTo>
                    <a:lnTo>
                      <a:pt x="300" y="0"/>
                    </a:lnTo>
                    <a:lnTo>
                      <a:pt x="315" y="0"/>
                    </a:lnTo>
                    <a:lnTo>
                      <a:pt x="330" y="0"/>
                    </a:lnTo>
                    <a:lnTo>
                      <a:pt x="344" y="1"/>
                    </a:lnTo>
                    <a:lnTo>
                      <a:pt x="358" y="3"/>
                    </a:lnTo>
                    <a:lnTo>
                      <a:pt x="371" y="7"/>
                    </a:lnTo>
                    <a:lnTo>
                      <a:pt x="384" y="10"/>
                    </a:lnTo>
                    <a:lnTo>
                      <a:pt x="396" y="14"/>
                    </a:lnTo>
                    <a:lnTo>
                      <a:pt x="407" y="19"/>
                    </a:lnTo>
                    <a:lnTo>
                      <a:pt x="418" y="24"/>
                    </a:lnTo>
                    <a:lnTo>
                      <a:pt x="428" y="31"/>
                    </a:lnTo>
                    <a:lnTo>
                      <a:pt x="438" y="37"/>
                    </a:lnTo>
                    <a:lnTo>
                      <a:pt x="446" y="45"/>
                    </a:lnTo>
                    <a:lnTo>
                      <a:pt x="454" y="52"/>
                    </a:lnTo>
                    <a:lnTo>
                      <a:pt x="462" y="61"/>
                    </a:lnTo>
                    <a:lnTo>
                      <a:pt x="469" y="70"/>
                    </a:lnTo>
                    <a:lnTo>
                      <a:pt x="476" y="80"/>
                    </a:lnTo>
                    <a:lnTo>
                      <a:pt x="482" y="88"/>
                    </a:lnTo>
                    <a:lnTo>
                      <a:pt x="493" y="109"/>
                    </a:lnTo>
                    <a:lnTo>
                      <a:pt x="502" y="131"/>
                    </a:lnTo>
                    <a:lnTo>
                      <a:pt x="510" y="154"/>
                    </a:lnTo>
                    <a:lnTo>
                      <a:pt x="515" y="177"/>
                    </a:lnTo>
                    <a:lnTo>
                      <a:pt x="519" y="201"/>
                    </a:lnTo>
                    <a:lnTo>
                      <a:pt x="522" y="225"/>
                    </a:lnTo>
                    <a:lnTo>
                      <a:pt x="524" y="249"/>
                    </a:lnTo>
                    <a:lnTo>
                      <a:pt x="524" y="273"/>
                    </a:lnTo>
                    <a:lnTo>
                      <a:pt x="503" y="317"/>
                    </a:lnTo>
                    <a:lnTo>
                      <a:pt x="485" y="358"/>
                    </a:lnTo>
                    <a:lnTo>
                      <a:pt x="467" y="397"/>
                    </a:lnTo>
                    <a:lnTo>
                      <a:pt x="447" y="435"/>
                    </a:lnTo>
                    <a:lnTo>
                      <a:pt x="437" y="455"/>
                    </a:lnTo>
                    <a:lnTo>
                      <a:pt x="423" y="475"/>
                    </a:lnTo>
                    <a:lnTo>
                      <a:pt x="408" y="497"/>
                    </a:lnTo>
                    <a:lnTo>
                      <a:pt x="391" y="520"/>
                    </a:lnTo>
                    <a:lnTo>
                      <a:pt x="371" y="545"/>
                    </a:lnTo>
                    <a:lnTo>
                      <a:pt x="348" y="571"/>
                    </a:lnTo>
                    <a:lnTo>
                      <a:pt x="323" y="599"/>
                    </a:lnTo>
                    <a:lnTo>
                      <a:pt x="293" y="629"/>
                    </a:lnTo>
                    <a:lnTo>
                      <a:pt x="252" y="603"/>
                    </a:lnTo>
                    <a:lnTo>
                      <a:pt x="218" y="578"/>
                    </a:lnTo>
                    <a:lnTo>
                      <a:pt x="187" y="554"/>
                    </a:lnTo>
                    <a:lnTo>
                      <a:pt x="162" y="531"/>
                    </a:lnTo>
                    <a:lnTo>
                      <a:pt x="150" y="520"/>
                    </a:lnTo>
                    <a:lnTo>
                      <a:pt x="140" y="509"/>
                    </a:lnTo>
                    <a:lnTo>
                      <a:pt x="130" y="498"/>
                    </a:lnTo>
                    <a:lnTo>
                      <a:pt x="121" y="487"/>
                    </a:lnTo>
                    <a:lnTo>
                      <a:pt x="105" y="466"/>
                    </a:lnTo>
                    <a:lnTo>
                      <a:pt x="91" y="443"/>
                    </a:lnTo>
                    <a:lnTo>
                      <a:pt x="79" y="420"/>
                    </a:lnTo>
                    <a:lnTo>
                      <a:pt x="68" y="396"/>
                    </a:lnTo>
                    <a:lnTo>
                      <a:pt x="58" y="371"/>
                    </a:lnTo>
                    <a:lnTo>
                      <a:pt x="49" y="343"/>
                    </a:lnTo>
                    <a:lnTo>
                      <a:pt x="27" y="281"/>
                    </a:lnTo>
                    <a:lnTo>
                      <a:pt x="0" y="209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7" name="Freeform 265"/>
              <p:cNvSpPr>
                <a:spLocks/>
              </p:cNvSpPr>
              <p:nvPr/>
            </p:nvSpPr>
            <p:spPr bwMode="auto">
              <a:xfrm>
                <a:off x="1760" y="2016"/>
                <a:ext cx="113" cy="25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53" y="48"/>
                  </a:cxn>
                  <a:cxn ang="0">
                    <a:pos x="101" y="35"/>
                  </a:cxn>
                  <a:cxn ang="0">
                    <a:pos x="145" y="24"/>
                  </a:cxn>
                  <a:cxn ang="0">
                    <a:pos x="189" y="16"/>
                  </a:cxn>
                  <a:cxn ang="0">
                    <a:pos x="233" y="9"/>
                  </a:cxn>
                  <a:cxn ang="0">
                    <a:pos x="277" y="4"/>
                  </a:cxn>
                  <a:cxn ang="0">
                    <a:pos x="325" y="2"/>
                  </a:cxn>
                  <a:cxn ang="0">
                    <a:pos x="378" y="0"/>
                  </a:cxn>
                  <a:cxn ang="0">
                    <a:pos x="416" y="0"/>
                  </a:cxn>
                  <a:cxn ang="0">
                    <a:pos x="452" y="2"/>
                  </a:cxn>
                  <a:cxn ang="0">
                    <a:pos x="468" y="3"/>
                  </a:cxn>
                  <a:cxn ang="0">
                    <a:pos x="483" y="5"/>
                  </a:cxn>
                  <a:cxn ang="0">
                    <a:pos x="498" y="7"/>
                  </a:cxn>
                  <a:cxn ang="0">
                    <a:pos x="512" y="10"/>
                  </a:cxn>
                  <a:cxn ang="0">
                    <a:pos x="524" y="16"/>
                  </a:cxn>
                  <a:cxn ang="0">
                    <a:pos x="534" y="21"/>
                  </a:cxn>
                  <a:cxn ang="0">
                    <a:pos x="544" y="28"/>
                  </a:cxn>
                  <a:cxn ang="0">
                    <a:pos x="552" y="35"/>
                  </a:cxn>
                  <a:cxn ang="0">
                    <a:pos x="555" y="41"/>
                  </a:cxn>
                  <a:cxn ang="0">
                    <a:pos x="558" y="45"/>
                  </a:cxn>
                  <a:cxn ang="0">
                    <a:pos x="561" y="51"/>
                  </a:cxn>
                  <a:cxn ang="0">
                    <a:pos x="563" y="56"/>
                  </a:cxn>
                  <a:cxn ang="0">
                    <a:pos x="566" y="69"/>
                  </a:cxn>
                  <a:cxn ang="0">
                    <a:pos x="566" y="84"/>
                  </a:cxn>
                  <a:cxn ang="0">
                    <a:pos x="555" y="88"/>
                  </a:cxn>
                  <a:cxn ang="0">
                    <a:pos x="543" y="90"/>
                  </a:cxn>
                  <a:cxn ang="0">
                    <a:pos x="531" y="92"/>
                  </a:cxn>
                  <a:cxn ang="0">
                    <a:pos x="519" y="93"/>
                  </a:cxn>
                  <a:cxn ang="0">
                    <a:pos x="494" y="93"/>
                  </a:cxn>
                  <a:cxn ang="0">
                    <a:pos x="469" y="92"/>
                  </a:cxn>
                  <a:cxn ang="0">
                    <a:pos x="443" y="90"/>
                  </a:cxn>
                  <a:cxn ang="0">
                    <a:pos x="416" y="88"/>
                  </a:cxn>
                  <a:cxn ang="0">
                    <a:pos x="387" y="85"/>
                  </a:cxn>
                  <a:cxn ang="0">
                    <a:pos x="357" y="84"/>
                  </a:cxn>
                  <a:cxn ang="0">
                    <a:pos x="331" y="84"/>
                  </a:cxn>
                  <a:cxn ang="0">
                    <a:pos x="306" y="85"/>
                  </a:cxn>
                  <a:cxn ang="0">
                    <a:pos x="282" y="88"/>
                  </a:cxn>
                  <a:cxn ang="0">
                    <a:pos x="260" y="91"/>
                  </a:cxn>
                  <a:cxn ang="0">
                    <a:pos x="218" y="97"/>
                  </a:cxn>
                  <a:cxn ang="0">
                    <a:pos x="178" y="105"/>
                  </a:cxn>
                  <a:cxn ang="0">
                    <a:pos x="139" y="113"/>
                  </a:cxn>
                  <a:cxn ang="0">
                    <a:pos x="97" y="119"/>
                  </a:cxn>
                  <a:cxn ang="0">
                    <a:pos x="75" y="123"/>
                  </a:cxn>
                  <a:cxn ang="0">
                    <a:pos x="52" y="125"/>
                  </a:cxn>
                  <a:cxn ang="0">
                    <a:pos x="27" y="126"/>
                  </a:cxn>
                  <a:cxn ang="0">
                    <a:pos x="0" y="126"/>
                  </a:cxn>
                  <a:cxn ang="0">
                    <a:pos x="0" y="111"/>
                  </a:cxn>
                  <a:cxn ang="0">
                    <a:pos x="0" y="94"/>
                  </a:cxn>
                  <a:cxn ang="0">
                    <a:pos x="0" y="79"/>
                  </a:cxn>
                  <a:cxn ang="0">
                    <a:pos x="0" y="64"/>
                  </a:cxn>
                </a:cxnLst>
                <a:rect l="0" t="0" r="r" b="b"/>
                <a:pathLst>
                  <a:path w="566" h="126">
                    <a:moveTo>
                      <a:pt x="0" y="64"/>
                    </a:moveTo>
                    <a:lnTo>
                      <a:pt x="53" y="48"/>
                    </a:lnTo>
                    <a:lnTo>
                      <a:pt x="101" y="35"/>
                    </a:lnTo>
                    <a:lnTo>
                      <a:pt x="145" y="24"/>
                    </a:lnTo>
                    <a:lnTo>
                      <a:pt x="189" y="16"/>
                    </a:lnTo>
                    <a:lnTo>
                      <a:pt x="233" y="9"/>
                    </a:lnTo>
                    <a:lnTo>
                      <a:pt x="277" y="4"/>
                    </a:lnTo>
                    <a:lnTo>
                      <a:pt x="325" y="2"/>
                    </a:lnTo>
                    <a:lnTo>
                      <a:pt x="378" y="0"/>
                    </a:lnTo>
                    <a:lnTo>
                      <a:pt x="416" y="0"/>
                    </a:lnTo>
                    <a:lnTo>
                      <a:pt x="452" y="2"/>
                    </a:lnTo>
                    <a:lnTo>
                      <a:pt x="468" y="3"/>
                    </a:lnTo>
                    <a:lnTo>
                      <a:pt x="483" y="5"/>
                    </a:lnTo>
                    <a:lnTo>
                      <a:pt x="498" y="7"/>
                    </a:lnTo>
                    <a:lnTo>
                      <a:pt x="512" y="10"/>
                    </a:lnTo>
                    <a:lnTo>
                      <a:pt x="524" y="16"/>
                    </a:lnTo>
                    <a:lnTo>
                      <a:pt x="534" y="21"/>
                    </a:lnTo>
                    <a:lnTo>
                      <a:pt x="544" y="28"/>
                    </a:lnTo>
                    <a:lnTo>
                      <a:pt x="552" y="35"/>
                    </a:lnTo>
                    <a:lnTo>
                      <a:pt x="555" y="41"/>
                    </a:lnTo>
                    <a:lnTo>
                      <a:pt x="558" y="45"/>
                    </a:lnTo>
                    <a:lnTo>
                      <a:pt x="561" y="51"/>
                    </a:lnTo>
                    <a:lnTo>
                      <a:pt x="563" y="56"/>
                    </a:lnTo>
                    <a:lnTo>
                      <a:pt x="566" y="69"/>
                    </a:lnTo>
                    <a:lnTo>
                      <a:pt x="566" y="84"/>
                    </a:lnTo>
                    <a:lnTo>
                      <a:pt x="555" y="88"/>
                    </a:lnTo>
                    <a:lnTo>
                      <a:pt x="543" y="90"/>
                    </a:lnTo>
                    <a:lnTo>
                      <a:pt x="531" y="92"/>
                    </a:lnTo>
                    <a:lnTo>
                      <a:pt x="519" y="93"/>
                    </a:lnTo>
                    <a:lnTo>
                      <a:pt x="494" y="93"/>
                    </a:lnTo>
                    <a:lnTo>
                      <a:pt x="469" y="92"/>
                    </a:lnTo>
                    <a:lnTo>
                      <a:pt x="443" y="90"/>
                    </a:lnTo>
                    <a:lnTo>
                      <a:pt x="416" y="88"/>
                    </a:lnTo>
                    <a:lnTo>
                      <a:pt x="387" y="85"/>
                    </a:lnTo>
                    <a:lnTo>
                      <a:pt x="357" y="84"/>
                    </a:lnTo>
                    <a:lnTo>
                      <a:pt x="331" y="84"/>
                    </a:lnTo>
                    <a:lnTo>
                      <a:pt x="306" y="85"/>
                    </a:lnTo>
                    <a:lnTo>
                      <a:pt x="282" y="88"/>
                    </a:lnTo>
                    <a:lnTo>
                      <a:pt x="260" y="91"/>
                    </a:lnTo>
                    <a:lnTo>
                      <a:pt x="218" y="97"/>
                    </a:lnTo>
                    <a:lnTo>
                      <a:pt x="178" y="105"/>
                    </a:lnTo>
                    <a:lnTo>
                      <a:pt x="139" y="113"/>
                    </a:lnTo>
                    <a:lnTo>
                      <a:pt x="97" y="119"/>
                    </a:lnTo>
                    <a:lnTo>
                      <a:pt x="75" y="123"/>
                    </a:lnTo>
                    <a:lnTo>
                      <a:pt x="52" y="125"/>
                    </a:lnTo>
                    <a:lnTo>
                      <a:pt x="27" y="126"/>
                    </a:lnTo>
                    <a:lnTo>
                      <a:pt x="0" y="126"/>
                    </a:lnTo>
                    <a:lnTo>
                      <a:pt x="0" y="111"/>
                    </a:lnTo>
                    <a:lnTo>
                      <a:pt x="0" y="94"/>
                    </a:lnTo>
                    <a:lnTo>
                      <a:pt x="0" y="79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8" name="Freeform 266"/>
              <p:cNvSpPr>
                <a:spLocks/>
              </p:cNvSpPr>
              <p:nvPr/>
            </p:nvSpPr>
            <p:spPr bwMode="auto">
              <a:xfrm>
                <a:off x="1760" y="2016"/>
                <a:ext cx="113" cy="25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53" y="48"/>
                  </a:cxn>
                  <a:cxn ang="0">
                    <a:pos x="101" y="35"/>
                  </a:cxn>
                  <a:cxn ang="0">
                    <a:pos x="145" y="24"/>
                  </a:cxn>
                  <a:cxn ang="0">
                    <a:pos x="189" y="16"/>
                  </a:cxn>
                  <a:cxn ang="0">
                    <a:pos x="233" y="9"/>
                  </a:cxn>
                  <a:cxn ang="0">
                    <a:pos x="277" y="4"/>
                  </a:cxn>
                  <a:cxn ang="0">
                    <a:pos x="325" y="2"/>
                  </a:cxn>
                  <a:cxn ang="0">
                    <a:pos x="378" y="0"/>
                  </a:cxn>
                  <a:cxn ang="0">
                    <a:pos x="416" y="0"/>
                  </a:cxn>
                  <a:cxn ang="0">
                    <a:pos x="452" y="2"/>
                  </a:cxn>
                  <a:cxn ang="0">
                    <a:pos x="468" y="3"/>
                  </a:cxn>
                  <a:cxn ang="0">
                    <a:pos x="483" y="5"/>
                  </a:cxn>
                  <a:cxn ang="0">
                    <a:pos x="498" y="7"/>
                  </a:cxn>
                  <a:cxn ang="0">
                    <a:pos x="512" y="10"/>
                  </a:cxn>
                  <a:cxn ang="0">
                    <a:pos x="524" y="16"/>
                  </a:cxn>
                  <a:cxn ang="0">
                    <a:pos x="534" y="21"/>
                  </a:cxn>
                  <a:cxn ang="0">
                    <a:pos x="544" y="28"/>
                  </a:cxn>
                  <a:cxn ang="0">
                    <a:pos x="552" y="35"/>
                  </a:cxn>
                  <a:cxn ang="0">
                    <a:pos x="555" y="41"/>
                  </a:cxn>
                  <a:cxn ang="0">
                    <a:pos x="558" y="45"/>
                  </a:cxn>
                  <a:cxn ang="0">
                    <a:pos x="561" y="51"/>
                  </a:cxn>
                  <a:cxn ang="0">
                    <a:pos x="563" y="56"/>
                  </a:cxn>
                  <a:cxn ang="0">
                    <a:pos x="566" y="69"/>
                  </a:cxn>
                  <a:cxn ang="0">
                    <a:pos x="566" y="84"/>
                  </a:cxn>
                  <a:cxn ang="0">
                    <a:pos x="555" y="88"/>
                  </a:cxn>
                  <a:cxn ang="0">
                    <a:pos x="543" y="90"/>
                  </a:cxn>
                  <a:cxn ang="0">
                    <a:pos x="531" y="92"/>
                  </a:cxn>
                  <a:cxn ang="0">
                    <a:pos x="519" y="93"/>
                  </a:cxn>
                  <a:cxn ang="0">
                    <a:pos x="494" y="93"/>
                  </a:cxn>
                  <a:cxn ang="0">
                    <a:pos x="469" y="92"/>
                  </a:cxn>
                  <a:cxn ang="0">
                    <a:pos x="443" y="90"/>
                  </a:cxn>
                  <a:cxn ang="0">
                    <a:pos x="416" y="88"/>
                  </a:cxn>
                  <a:cxn ang="0">
                    <a:pos x="387" y="85"/>
                  </a:cxn>
                  <a:cxn ang="0">
                    <a:pos x="357" y="84"/>
                  </a:cxn>
                  <a:cxn ang="0">
                    <a:pos x="331" y="84"/>
                  </a:cxn>
                  <a:cxn ang="0">
                    <a:pos x="306" y="85"/>
                  </a:cxn>
                  <a:cxn ang="0">
                    <a:pos x="282" y="88"/>
                  </a:cxn>
                  <a:cxn ang="0">
                    <a:pos x="260" y="91"/>
                  </a:cxn>
                  <a:cxn ang="0">
                    <a:pos x="218" y="97"/>
                  </a:cxn>
                  <a:cxn ang="0">
                    <a:pos x="178" y="105"/>
                  </a:cxn>
                  <a:cxn ang="0">
                    <a:pos x="139" y="113"/>
                  </a:cxn>
                  <a:cxn ang="0">
                    <a:pos x="97" y="119"/>
                  </a:cxn>
                  <a:cxn ang="0">
                    <a:pos x="75" y="123"/>
                  </a:cxn>
                  <a:cxn ang="0">
                    <a:pos x="52" y="125"/>
                  </a:cxn>
                  <a:cxn ang="0">
                    <a:pos x="27" y="126"/>
                  </a:cxn>
                  <a:cxn ang="0">
                    <a:pos x="0" y="126"/>
                  </a:cxn>
                  <a:cxn ang="0">
                    <a:pos x="0" y="111"/>
                  </a:cxn>
                  <a:cxn ang="0">
                    <a:pos x="0" y="94"/>
                  </a:cxn>
                  <a:cxn ang="0">
                    <a:pos x="0" y="79"/>
                  </a:cxn>
                  <a:cxn ang="0">
                    <a:pos x="0" y="64"/>
                  </a:cxn>
                </a:cxnLst>
                <a:rect l="0" t="0" r="r" b="b"/>
                <a:pathLst>
                  <a:path w="566" h="126">
                    <a:moveTo>
                      <a:pt x="0" y="64"/>
                    </a:moveTo>
                    <a:lnTo>
                      <a:pt x="53" y="48"/>
                    </a:lnTo>
                    <a:lnTo>
                      <a:pt x="101" y="35"/>
                    </a:lnTo>
                    <a:lnTo>
                      <a:pt x="145" y="24"/>
                    </a:lnTo>
                    <a:lnTo>
                      <a:pt x="189" y="16"/>
                    </a:lnTo>
                    <a:lnTo>
                      <a:pt x="233" y="9"/>
                    </a:lnTo>
                    <a:lnTo>
                      <a:pt x="277" y="4"/>
                    </a:lnTo>
                    <a:lnTo>
                      <a:pt x="325" y="2"/>
                    </a:lnTo>
                    <a:lnTo>
                      <a:pt x="378" y="0"/>
                    </a:lnTo>
                    <a:lnTo>
                      <a:pt x="416" y="0"/>
                    </a:lnTo>
                    <a:lnTo>
                      <a:pt x="452" y="2"/>
                    </a:lnTo>
                    <a:lnTo>
                      <a:pt x="468" y="3"/>
                    </a:lnTo>
                    <a:lnTo>
                      <a:pt x="483" y="5"/>
                    </a:lnTo>
                    <a:lnTo>
                      <a:pt x="498" y="7"/>
                    </a:lnTo>
                    <a:lnTo>
                      <a:pt x="512" y="10"/>
                    </a:lnTo>
                    <a:lnTo>
                      <a:pt x="524" y="16"/>
                    </a:lnTo>
                    <a:lnTo>
                      <a:pt x="534" y="21"/>
                    </a:lnTo>
                    <a:lnTo>
                      <a:pt x="544" y="28"/>
                    </a:lnTo>
                    <a:lnTo>
                      <a:pt x="552" y="35"/>
                    </a:lnTo>
                    <a:lnTo>
                      <a:pt x="555" y="41"/>
                    </a:lnTo>
                    <a:lnTo>
                      <a:pt x="558" y="45"/>
                    </a:lnTo>
                    <a:lnTo>
                      <a:pt x="561" y="51"/>
                    </a:lnTo>
                    <a:lnTo>
                      <a:pt x="563" y="56"/>
                    </a:lnTo>
                    <a:lnTo>
                      <a:pt x="566" y="69"/>
                    </a:lnTo>
                    <a:lnTo>
                      <a:pt x="566" y="84"/>
                    </a:lnTo>
                    <a:lnTo>
                      <a:pt x="555" y="88"/>
                    </a:lnTo>
                    <a:lnTo>
                      <a:pt x="543" y="90"/>
                    </a:lnTo>
                    <a:lnTo>
                      <a:pt x="531" y="92"/>
                    </a:lnTo>
                    <a:lnTo>
                      <a:pt x="519" y="93"/>
                    </a:lnTo>
                    <a:lnTo>
                      <a:pt x="494" y="93"/>
                    </a:lnTo>
                    <a:lnTo>
                      <a:pt x="469" y="92"/>
                    </a:lnTo>
                    <a:lnTo>
                      <a:pt x="443" y="90"/>
                    </a:lnTo>
                    <a:lnTo>
                      <a:pt x="416" y="88"/>
                    </a:lnTo>
                    <a:lnTo>
                      <a:pt x="387" y="85"/>
                    </a:lnTo>
                    <a:lnTo>
                      <a:pt x="357" y="84"/>
                    </a:lnTo>
                    <a:lnTo>
                      <a:pt x="331" y="84"/>
                    </a:lnTo>
                    <a:lnTo>
                      <a:pt x="306" y="85"/>
                    </a:lnTo>
                    <a:lnTo>
                      <a:pt x="282" y="88"/>
                    </a:lnTo>
                    <a:lnTo>
                      <a:pt x="260" y="91"/>
                    </a:lnTo>
                    <a:lnTo>
                      <a:pt x="218" y="97"/>
                    </a:lnTo>
                    <a:lnTo>
                      <a:pt x="178" y="105"/>
                    </a:lnTo>
                    <a:lnTo>
                      <a:pt x="139" y="113"/>
                    </a:lnTo>
                    <a:lnTo>
                      <a:pt x="97" y="119"/>
                    </a:lnTo>
                    <a:lnTo>
                      <a:pt x="75" y="123"/>
                    </a:lnTo>
                    <a:lnTo>
                      <a:pt x="52" y="125"/>
                    </a:lnTo>
                    <a:lnTo>
                      <a:pt x="27" y="126"/>
                    </a:lnTo>
                    <a:lnTo>
                      <a:pt x="0" y="126"/>
                    </a:lnTo>
                    <a:lnTo>
                      <a:pt x="0" y="111"/>
                    </a:lnTo>
                    <a:lnTo>
                      <a:pt x="0" y="94"/>
                    </a:lnTo>
                    <a:lnTo>
                      <a:pt x="0" y="79"/>
                    </a:lnTo>
                    <a:lnTo>
                      <a:pt x="0" y="64"/>
                    </a:lnTo>
                  </a:path>
                </a:pathLst>
              </a:custGeom>
              <a:noFill/>
              <a:ln w="0">
                <a:solidFill>
                  <a:srgbClr val="949393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39" name="Line 267"/>
              <p:cNvSpPr>
                <a:spLocks noChangeShapeType="1"/>
              </p:cNvSpPr>
              <p:nvPr/>
            </p:nvSpPr>
            <p:spPr bwMode="auto">
              <a:xfrm flipH="1" flipV="1">
                <a:off x="2935" y="3841"/>
                <a:ext cx="8" cy="30"/>
              </a:xfrm>
              <a:prstGeom prst="line">
                <a:avLst/>
              </a:prstGeom>
              <a:noFill/>
              <a:ln w="0">
                <a:solidFill>
                  <a:srgbClr val="9493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0" name="Line 268"/>
              <p:cNvSpPr>
                <a:spLocks noChangeShapeType="1"/>
              </p:cNvSpPr>
              <p:nvPr/>
            </p:nvSpPr>
            <p:spPr bwMode="auto">
              <a:xfrm flipV="1">
                <a:off x="2763" y="3094"/>
                <a:ext cx="1" cy="67"/>
              </a:xfrm>
              <a:prstGeom prst="line">
                <a:avLst/>
              </a:prstGeom>
              <a:noFill/>
              <a:ln w="0">
                <a:solidFill>
                  <a:srgbClr val="94939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1" name="Rectangle 269"/>
              <p:cNvSpPr>
                <a:spLocks noChangeArrowheads="1"/>
              </p:cNvSpPr>
              <p:nvPr/>
            </p:nvSpPr>
            <p:spPr bwMode="auto">
              <a:xfrm>
                <a:off x="2891" y="1074"/>
                <a:ext cx="14" cy="2613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2" name="Line 270"/>
              <p:cNvSpPr>
                <a:spLocks noChangeShapeType="1"/>
              </p:cNvSpPr>
              <p:nvPr/>
            </p:nvSpPr>
            <p:spPr bwMode="auto">
              <a:xfrm>
                <a:off x="3939" y="1074"/>
                <a:ext cx="1" cy="2613"/>
              </a:xfrm>
              <a:prstGeom prst="line">
                <a:avLst/>
              </a:prstGeom>
              <a:noFill/>
              <a:ln w="3175">
                <a:solidFill>
                  <a:srgbClr val="1F1A1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3" name="Rectangle 271"/>
              <p:cNvSpPr>
                <a:spLocks noChangeArrowheads="1"/>
              </p:cNvSpPr>
              <p:nvPr/>
            </p:nvSpPr>
            <p:spPr bwMode="auto">
              <a:xfrm>
                <a:off x="1812" y="1074"/>
                <a:ext cx="14" cy="2613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4" name="Freeform 272"/>
              <p:cNvSpPr>
                <a:spLocks/>
              </p:cNvSpPr>
              <p:nvPr/>
            </p:nvSpPr>
            <p:spPr bwMode="auto">
              <a:xfrm>
                <a:off x="3586" y="2429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5"/>
                  </a:cxn>
                  <a:cxn ang="0">
                    <a:pos x="2635" y="3646"/>
                  </a:cxn>
                  <a:cxn ang="0">
                    <a:pos x="2880" y="3521"/>
                  </a:cxn>
                  <a:cxn ang="0">
                    <a:pos x="3104" y="3362"/>
                  </a:cxn>
                  <a:cxn ang="0">
                    <a:pos x="3301" y="3173"/>
                  </a:cxn>
                  <a:cxn ang="0">
                    <a:pos x="3470" y="2958"/>
                  </a:cxn>
                  <a:cxn ang="0">
                    <a:pos x="3607" y="2720"/>
                  </a:cxn>
                  <a:cxn ang="0">
                    <a:pos x="3710" y="2461"/>
                  </a:cxn>
                  <a:cxn ang="0">
                    <a:pos x="3773" y="2187"/>
                  </a:cxn>
                  <a:cxn ang="0">
                    <a:pos x="3795" y="1898"/>
                  </a:cxn>
                  <a:cxn ang="0">
                    <a:pos x="3773" y="1610"/>
                  </a:cxn>
                  <a:cxn ang="0">
                    <a:pos x="3710" y="1335"/>
                  </a:cxn>
                  <a:cxn ang="0">
                    <a:pos x="3607" y="1077"/>
                  </a:cxn>
                  <a:cxn ang="0">
                    <a:pos x="3470" y="838"/>
                  </a:cxn>
                  <a:cxn ang="0">
                    <a:pos x="3301" y="623"/>
                  </a:cxn>
                  <a:cxn ang="0">
                    <a:pos x="3104" y="435"/>
                  </a:cxn>
                  <a:cxn ang="0">
                    <a:pos x="2880" y="276"/>
                  </a:cxn>
                  <a:cxn ang="0">
                    <a:pos x="2635" y="150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0" y="3"/>
                  </a:cxn>
                  <a:cxn ang="0">
                    <a:pos x="1516" y="39"/>
                  </a:cxn>
                  <a:cxn ang="0">
                    <a:pos x="1247" y="116"/>
                  </a:cxn>
                  <a:cxn ang="0">
                    <a:pos x="995" y="230"/>
                  </a:cxn>
                  <a:cxn ang="0">
                    <a:pos x="764" y="378"/>
                  </a:cxn>
                  <a:cxn ang="0">
                    <a:pos x="557" y="557"/>
                  </a:cxn>
                  <a:cxn ang="0">
                    <a:pos x="378" y="764"/>
                  </a:cxn>
                  <a:cxn ang="0">
                    <a:pos x="230" y="995"/>
                  </a:cxn>
                  <a:cxn ang="0">
                    <a:pos x="115" y="1247"/>
                  </a:cxn>
                  <a:cxn ang="0">
                    <a:pos x="39" y="1516"/>
                  </a:cxn>
                  <a:cxn ang="0">
                    <a:pos x="3" y="1801"/>
                  </a:cxn>
                  <a:cxn ang="0">
                    <a:pos x="10" y="2092"/>
                  </a:cxn>
                  <a:cxn ang="0">
                    <a:pos x="60" y="2372"/>
                  </a:cxn>
                  <a:cxn ang="0">
                    <a:pos x="150" y="2636"/>
                  </a:cxn>
                  <a:cxn ang="0">
                    <a:pos x="276" y="2881"/>
                  </a:cxn>
                  <a:cxn ang="0">
                    <a:pos x="435" y="3104"/>
                  </a:cxn>
                  <a:cxn ang="0">
                    <a:pos x="623" y="3302"/>
                  </a:cxn>
                  <a:cxn ang="0">
                    <a:pos x="838" y="3471"/>
                  </a:cxn>
                  <a:cxn ang="0">
                    <a:pos x="1077" y="3608"/>
                  </a:cxn>
                  <a:cxn ang="0">
                    <a:pos x="1335" y="3710"/>
                  </a:cxn>
                  <a:cxn ang="0">
                    <a:pos x="1610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5" y="3793"/>
                    </a:lnTo>
                    <a:lnTo>
                      <a:pt x="2091" y="3786"/>
                    </a:lnTo>
                    <a:lnTo>
                      <a:pt x="2186" y="3774"/>
                    </a:lnTo>
                    <a:lnTo>
                      <a:pt x="2279" y="3757"/>
                    </a:lnTo>
                    <a:lnTo>
                      <a:pt x="2371" y="3735"/>
                    </a:lnTo>
                    <a:lnTo>
                      <a:pt x="2461" y="3710"/>
                    </a:lnTo>
                    <a:lnTo>
                      <a:pt x="2549" y="3680"/>
                    </a:lnTo>
                    <a:lnTo>
                      <a:pt x="2635" y="3646"/>
                    </a:lnTo>
                    <a:lnTo>
                      <a:pt x="2719" y="3608"/>
                    </a:lnTo>
                    <a:lnTo>
                      <a:pt x="2801" y="3566"/>
                    </a:lnTo>
                    <a:lnTo>
                      <a:pt x="2880" y="3521"/>
                    </a:lnTo>
                    <a:lnTo>
                      <a:pt x="2958" y="3471"/>
                    </a:lnTo>
                    <a:lnTo>
                      <a:pt x="3032" y="3418"/>
                    </a:lnTo>
                    <a:lnTo>
                      <a:pt x="3104" y="3362"/>
                    </a:lnTo>
                    <a:lnTo>
                      <a:pt x="3172" y="3302"/>
                    </a:lnTo>
                    <a:lnTo>
                      <a:pt x="3238" y="3238"/>
                    </a:lnTo>
                    <a:lnTo>
                      <a:pt x="3301" y="3173"/>
                    </a:lnTo>
                    <a:lnTo>
                      <a:pt x="3361" y="3104"/>
                    </a:lnTo>
                    <a:lnTo>
                      <a:pt x="3418" y="3032"/>
                    </a:lnTo>
                    <a:lnTo>
                      <a:pt x="3470" y="2958"/>
                    </a:lnTo>
                    <a:lnTo>
                      <a:pt x="3520" y="2881"/>
                    </a:lnTo>
                    <a:lnTo>
                      <a:pt x="3566" y="2801"/>
                    </a:lnTo>
                    <a:lnTo>
                      <a:pt x="3607" y="2720"/>
                    </a:lnTo>
                    <a:lnTo>
                      <a:pt x="3645" y="2636"/>
                    </a:lnTo>
                    <a:lnTo>
                      <a:pt x="3679" y="2550"/>
                    </a:lnTo>
                    <a:lnTo>
                      <a:pt x="3710" y="2461"/>
                    </a:lnTo>
                    <a:lnTo>
                      <a:pt x="3735" y="2372"/>
                    </a:lnTo>
                    <a:lnTo>
                      <a:pt x="3756" y="2279"/>
                    </a:lnTo>
                    <a:lnTo>
                      <a:pt x="3773" y="2187"/>
                    </a:lnTo>
                    <a:lnTo>
                      <a:pt x="3785" y="2092"/>
                    </a:lnTo>
                    <a:lnTo>
                      <a:pt x="3792" y="1996"/>
                    </a:lnTo>
                    <a:lnTo>
                      <a:pt x="3795" y="1898"/>
                    </a:lnTo>
                    <a:lnTo>
                      <a:pt x="3792" y="1801"/>
                    </a:lnTo>
                    <a:lnTo>
                      <a:pt x="3785" y="1705"/>
                    </a:lnTo>
                    <a:lnTo>
                      <a:pt x="3773" y="1610"/>
                    </a:lnTo>
                    <a:lnTo>
                      <a:pt x="3756" y="1516"/>
                    </a:lnTo>
                    <a:lnTo>
                      <a:pt x="3735" y="1425"/>
                    </a:lnTo>
                    <a:lnTo>
                      <a:pt x="3710" y="1335"/>
                    </a:lnTo>
                    <a:lnTo>
                      <a:pt x="3679" y="1247"/>
                    </a:lnTo>
                    <a:lnTo>
                      <a:pt x="3645" y="1161"/>
                    </a:lnTo>
                    <a:lnTo>
                      <a:pt x="3607" y="1077"/>
                    </a:lnTo>
                    <a:lnTo>
                      <a:pt x="3566" y="995"/>
                    </a:lnTo>
                    <a:lnTo>
                      <a:pt x="3520" y="916"/>
                    </a:lnTo>
                    <a:lnTo>
                      <a:pt x="3470" y="838"/>
                    </a:lnTo>
                    <a:lnTo>
                      <a:pt x="3418" y="764"/>
                    </a:lnTo>
                    <a:lnTo>
                      <a:pt x="3361" y="692"/>
                    </a:lnTo>
                    <a:lnTo>
                      <a:pt x="3301" y="623"/>
                    </a:lnTo>
                    <a:lnTo>
                      <a:pt x="3238" y="557"/>
                    </a:lnTo>
                    <a:lnTo>
                      <a:pt x="3172" y="495"/>
                    </a:lnTo>
                    <a:lnTo>
                      <a:pt x="3104" y="435"/>
                    </a:lnTo>
                    <a:lnTo>
                      <a:pt x="3032" y="378"/>
                    </a:lnTo>
                    <a:lnTo>
                      <a:pt x="2958" y="325"/>
                    </a:lnTo>
                    <a:lnTo>
                      <a:pt x="2880" y="276"/>
                    </a:lnTo>
                    <a:lnTo>
                      <a:pt x="2801" y="230"/>
                    </a:lnTo>
                    <a:lnTo>
                      <a:pt x="2719" y="187"/>
                    </a:lnTo>
                    <a:lnTo>
                      <a:pt x="2635" y="150"/>
                    </a:lnTo>
                    <a:lnTo>
                      <a:pt x="2549" y="116"/>
                    </a:lnTo>
                    <a:lnTo>
                      <a:pt x="2461" y="86"/>
                    </a:lnTo>
                    <a:lnTo>
                      <a:pt x="2371" y="60"/>
                    </a:lnTo>
                    <a:lnTo>
                      <a:pt x="2279" y="39"/>
                    </a:lnTo>
                    <a:lnTo>
                      <a:pt x="2186" y="22"/>
                    </a:lnTo>
                    <a:lnTo>
                      <a:pt x="2091" y="10"/>
                    </a:lnTo>
                    <a:lnTo>
                      <a:pt x="1995" y="3"/>
                    </a:lnTo>
                    <a:lnTo>
                      <a:pt x="1897" y="0"/>
                    </a:lnTo>
                    <a:lnTo>
                      <a:pt x="1800" y="3"/>
                    </a:lnTo>
                    <a:lnTo>
                      <a:pt x="1704" y="10"/>
                    </a:lnTo>
                    <a:lnTo>
                      <a:pt x="1610" y="22"/>
                    </a:lnTo>
                    <a:lnTo>
                      <a:pt x="1516" y="39"/>
                    </a:lnTo>
                    <a:lnTo>
                      <a:pt x="1424" y="60"/>
                    </a:lnTo>
                    <a:lnTo>
                      <a:pt x="1335" y="86"/>
                    </a:lnTo>
                    <a:lnTo>
                      <a:pt x="1247" y="116"/>
                    </a:lnTo>
                    <a:lnTo>
                      <a:pt x="1161" y="150"/>
                    </a:lnTo>
                    <a:lnTo>
                      <a:pt x="1077" y="187"/>
                    </a:lnTo>
                    <a:lnTo>
                      <a:pt x="995" y="230"/>
                    </a:lnTo>
                    <a:lnTo>
                      <a:pt x="915" y="276"/>
                    </a:lnTo>
                    <a:lnTo>
                      <a:pt x="838" y="325"/>
                    </a:lnTo>
                    <a:lnTo>
                      <a:pt x="764" y="378"/>
                    </a:lnTo>
                    <a:lnTo>
                      <a:pt x="692" y="435"/>
                    </a:lnTo>
                    <a:lnTo>
                      <a:pt x="623" y="495"/>
                    </a:lnTo>
                    <a:lnTo>
                      <a:pt x="557" y="557"/>
                    </a:lnTo>
                    <a:lnTo>
                      <a:pt x="495" y="623"/>
                    </a:lnTo>
                    <a:lnTo>
                      <a:pt x="435" y="692"/>
                    </a:lnTo>
                    <a:lnTo>
                      <a:pt x="378" y="764"/>
                    </a:lnTo>
                    <a:lnTo>
                      <a:pt x="325" y="838"/>
                    </a:lnTo>
                    <a:lnTo>
                      <a:pt x="276" y="916"/>
                    </a:lnTo>
                    <a:lnTo>
                      <a:pt x="230" y="995"/>
                    </a:lnTo>
                    <a:lnTo>
                      <a:pt x="187" y="1077"/>
                    </a:lnTo>
                    <a:lnTo>
                      <a:pt x="150" y="1161"/>
                    </a:lnTo>
                    <a:lnTo>
                      <a:pt x="115" y="1247"/>
                    </a:lnTo>
                    <a:lnTo>
                      <a:pt x="86" y="1335"/>
                    </a:lnTo>
                    <a:lnTo>
                      <a:pt x="60" y="1425"/>
                    </a:lnTo>
                    <a:lnTo>
                      <a:pt x="39" y="1516"/>
                    </a:lnTo>
                    <a:lnTo>
                      <a:pt x="23" y="1610"/>
                    </a:lnTo>
                    <a:lnTo>
                      <a:pt x="10" y="1705"/>
                    </a:lnTo>
                    <a:lnTo>
                      <a:pt x="3" y="1801"/>
                    </a:lnTo>
                    <a:lnTo>
                      <a:pt x="0" y="1898"/>
                    </a:lnTo>
                    <a:lnTo>
                      <a:pt x="3" y="1996"/>
                    </a:lnTo>
                    <a:lnTo>
                      <a:pt x="10" y="2092"/>
                    </a:lnTo>
                    <a:lnTo>
                      <a:pt x="23" y="2187"/>
                    </a:lnTo>
                    <a:lnTo>
                      <a:pt x="39" y="2279"/>
                    </a:lnTo>
                    <a:lnTo>
                      <a:pt x="60" y="2372"/>
                    </a:lnTo>
                    <a:lnTo>
                      <a:pt x="86" y="2461"/>
                    </a:lnTo>
                    <a:lnTo>
                      <a:pt x="115" y="2550"/>
                    </a:lnTo>
                    <a:lnTo>
                      <a:pt x="150" y="2636"/>
                    </a:lnTo>
                    <a:lnTo>
                      <a:pt x="187" y="2720"/>
                    </a:lnTo>
                    <a:lnTo>
                      <a:pt x="230" y="2801"/>
                    </a:lnTo>
                    <a:lnTo>
                      <a:pt x="276" y="2881"/>
                    </a:lnTo>
                    <a:lnTo>
                      <a:pt x="325" y="2958"/>
                    </a:lnTo>
                    <a:lnTo>
                      <a:pt x="378" y="3032"/>
                    </a:lnTo>
                    <a:lnTo>
                      <a:pt x="435" y="3104"/>
                    </a:lnTo>
                    <a:lnTo>
                      <a:pt x="495" y="3173"/>
                    </a:lnTo>
                    <a:lnTo>
                      <a:pt x="557" y="3238"/>
                    </a:lnTo>
                    <a:lnTo>
                      <a:pt x="623" y="3302"/>
                    </a:lnTo>
                    <a:lnTo>
                      <a:pt x="692" y="3362"/>
                    </a:lnTo>
                    <a:lnTo>
                      <a:pt x="764" y="3418"/>
                    </a:lnTo>
                    <a:lnTo>
                      <a:pt x="838" y="3471"/>
                    </a:lnTo>
                    <a:lnTo>
                      <a:pt x="915" y="3521"/>
                    </a:lnTo>
                    <a:lnTo>
                      <a:pt x="995" y="3566"/>
                    </a:lnTo>
                    <a:lnTo>
                      <a:pt x="1077" y="3608"/>
                    </a:lnTo>
                    <a:lnTo>
                      <a:pt x="1161" y="3646"/>
                    </a:lnTo>
                    <a:lnTo>
                      <a:pt x="1247" y="3680"/>
                    </a:lnTo>
                    <a:lnTo>
                      <a:pt x="1335" y="3710"/>
                    </a:lnTo>
                    <a:lnTo>
                      <a:pt x="1424" y="3735"/>
                    </a:lnTo>
                    <a:lnTo>
                      <a:pt x="1516" y="3757"/>
                    </a:lnTo>
                    <a:lnTo>
                      <a:pt x="1610" y="3774"/>
                    </a:lnTo>
                    <a:lnTo>
                      <a:pt x="1704" y="3786"/>
                    </a:lnTo>
                    <a:lnTo>
                      <a:pt x="1800" y="3793"/>
                    </a:lnTo>
                    <a:lnTo>
                      <a:pt x="1897" y="3795"/>
                    </a:lnTo>
                  </a:path>
                </a:pathLst>
              </a:custGeom>
              <a:noFill/>
              <a:ln w="3175">
                <a:solidFill>
                  <a:srgbClr val="1F1A1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5" name="Freeform 273"/>
              <p:cNvSpPr>
                <a:spLocks/>
              </p:cNvSpPr>
              <p:nvPr/>
            </p:nvSpPr>
            <p:spPr bwMode="auto">
              <a:xfrm>
                <a:off x="2497" y="2429"/>
                <a:ext cx="759" cy="759"/>
              </a:xfrm>
              <a:custGeom>
                <a:avLst/>
                <a:gdLst/>
                <a:ahLst/>
                <a:cxnLst>
                  <a:cxn ang="0">
                    <a:pos x="2090" y="3786"/>
                  </a:cxn>
                  <a:cxn ang="0">
                    <a:pos x="2370" y="3735"/>
                  </a:cxn>
                  <a:cxn ang="0">
                    <a:pos x="2634" y="3646"/>
                  </a:cxn>
                  <a:cxn ang="0">
                    <a:pos x="2879" y="3521"/>
                  </a:cxn>
                  <a:cxn ang="0">
                    <a:pos x="3103" y="3362"/>
                  </a:cxn>
                  <a:cxn ang="0">
                    <a:pos x="3300" y="3173"/>
                  </a:cxn>
                  <a:cxn ang="0">
                    <a:pos x="3470" y="2958"/>
                  </a:cxn>
                  <a:cxn ang="0">
                    <a:pos x="3606" y="2720"/>
                  </a:cxn>
                  <a:cxn ang="0">
                    <a:pos x="3709" y="2461"/>
                  </a:cxn>
                  <a:cxn ang="0">
                    <a:pos x="3772" y="2187"/>
                  </a:cxn>
                  <a:cxn ang="0">
                    <a:pos x="3795" y="1898"/>
                  </a:cxn>
                  <a:cxn ang="0">
                    <a:pos x="3772" y="1610"/>
                  </a:cxn>
                  <a:cxn ang="0">
                    <a:pos x="3709" y="1335"/>
                  </a:cxn>
                  <a:cxn ang="0">
                    <a:pos x="3606" y="1077"/>
                  </a:cxn>
                  <a:cxn ang="0">
                    <a:pos x="3470" y="838"/>
                  </a:cxn>
                  <a:cxn ang="0">
                    <a:pos x="3300" y="623"/>
                  </a:cxn>
                  <a:cxn ang="0">
                    <a:pos x="3103" y="435"/>
                  </a:cxn>
                  <a:cxn ang="0">
                    <a:pos x="2879" y="276"/>
                  </a:cxn>
                  <a:cxn ang="0">
                    <a:pos x="2634" y="150"/>
                  </a:cxn>
                  <a:cxn ang="0">
                    <a:pos x="2370" y="60"/>
                  </a:cxn>
                  <a:cxn ang="0">
                    <a:pos x="2090" y="10"/>
                  </a:cxn>
                  <a:cxn ang="0">
                    <a:pos x="1799" y="3"/>
                  </a:cxn>
                  <a:cxn ang="0">
                    <a:pos x="1516" y="39"/>
                  </a:cxn>
                  <a:cxn ang="0">
                    <a:pos x="1246" y="116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7" y="764"/>
                  </a:cxn>
                  <a:cxn ang="0">
                    <a:pos x="229" y="995"/>
                  </a:cxn>
                  <a:cxn ang="0">
                    <a:pos x="116" y="1247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2"/>
                  </a:cxn>
                  <a:cxn ang="0">
                    <a:pos x="60" y="2372"/>
                  </a:cxn>
                  <a:cxn ang="0">
                    <a:pos x="149" y="2636"/>
                  </a:cxn>
                  <a:cxn ang="0">
                    <a:pos x="275" y="2881"/>
                  </a:cxn>
                  <a:cxn ang="0">
                    <a:pos x="434" y="3104"/>
                  </a:cxn>
                  <a:cxn ang="0">
                    <a:pos x="622" y="3302"/>
                  </a:cxn>
                  <a:cxn ang="0">
                    <a:pos x="837" y="3471"/>
                  </a:cxn>
                  <a:cxn ang="0">
                    <a:pos x="1076" y="3608"/>
                  </a:cxn>
                  <a:cxn ang="0">
                    <a:pos x="1334" y="3710"/>
                  </a:cxn>
                  <a:cxn ang="0">
                    <a:pos x="1609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4" y="3793"/>
                    </a:lnTo>
                    <a:lnTo>
                      <a:pt x="2090" y="3786"/>
                    </a:lnTo>
                    <a:lnTo>
                      <a:pt x="2185" y="3774"/>
                    </a:lnTo>
                    <a:lnTo>
                      <a:pt x="2279" y="3757"/>
                    </a:lnTo>
                    <a:lnTo>
                      <a:pt x="2370" y="3735"/>
                    </a:lnTo>
                    <a:lnTo>
                      <a:pt x="2460" y="3710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8" y="3608"/>
                    </a:lnTo>
                    <a:lnTo>
                      <a:pt x="2800" y="3566"/>
                    </a:lnTo>
                    <a:lnTo>
                      <a:pt x="2879" y="3521"/>
                    </a:lnTo>
                    <a:lnTo>
                      <a:pt x="2957" y="3471"/>
                    </a:lnTo>
                    <a:lnTo>
                      <a:pt x="3031" y="3418"/>
                    </a:lnTo>
                    <a:lnTo>
                      <a:pt x="3103" y="3362"/>
                    </a:lnTo>
                    <a:lnTo>
                      <a:pt x="3171" y="3302"/>
                    </a:lnTo>
                    <a:lnTo>
                      <a:pt x="3238" y="3238"/>
                    </a:lnTo>
                    <a:lnTo>
                      <a:pt x="3300" y="3173"/>
                    </a:lnTo>
                    <a:lnTo>
                      <a:pt x="3360" y="3104"/>
                    </a:lnTo>
                    <a:lnTo>
                      <a:pt x="3417" y="3032"/>
                    </a:lnTo>
                    <a:lnTo>
                      <a:pt x="3470" y="2958"/>
                    </a:lnTo>
                    <a:lnTo>
                      <a:pt x="3519" y="2881"/>
                    </a:lnTo>
                    <a:lnTo>
                      <a:pt x="3565" y="2801"/>
                    </a:lnTo>
                    <a:lnTo>
                      <a:pt x="3606" y="2720"/>
                    </a:lnTo>
                    <a:lnTo>
                      <a:pt x="3644" y="2636"/>
                    </a:lnTo>
                    <a:lnTo>
                      <a:pt x="3679" y="2550"/>
                    </a:lnTo>
                    <a:lnTo>
                      <a:pt x="3709" y="2461"/>
                    </a:lnTo>
                    <a:lnTo>
                      <a:pt x="3735" y="2372"/>
                    </a:lnTo>
                    <a:lnTo>
                      <a:pt x="3756" y="2279"/>
                    </a:lnTo>
                    <a:lnTo>
                      <a:pt x="3772" y="2187"/>
                    </a:lnTo>
                    <a:lnTo>
                      <a:pt x="3785" y="2092"/>
                    </a:lnTo>
                    <a:lnTo>
                      <a:pt x="3792" y="1996"/>
                    </a:lnTo>
                    <a:lnTo>
                      <a:pt x="3795" y="1898"/>
                    </a:lnTo>
                    <a:lnTo>
                      <a:pt x="3792" y="1801"/>
                    </a:lnTo>
                    <a:lnTo>
                      <a:pt x="3785" y="1705"/>
                    </a:lnTo>
                    <a:lnTo>
                      <a:pt x="3772" y="1610"/>
                    </a:lnTo>
                    <a:lnTo>
                      <a:pt x="3756" y="1516"/>
                    </a:lnTo>
                    <a:lnTo>
                      <a:pt x="3735" y="1425"/>
                    </a:lnTo>
                    <a:lnTo>
                      <a:pt x="3709" y="1335"/>
                    </a:lnTo>
                    <a:lnTo>
                      <a:pt x="3679" y="1247"/>
                    </a:lnTo>
                    <a:lnTo>
                      <a:pt x="3644" y="1161"/>
                    </a:lnTo>
                    <a:lnTo>
                      <a:pt x="3606" y="1077"/>
                    </a:lnTo>
                    <a:lnTo>
                      <a:pt x="3565" y="995"/>
                    </a:lnTo>
                    <a:lnTo>
                      <a:pt x="3519" y="916"/>
                    </a:lnTo>
                    <a:lnTo>
                      <a:pt x="3470" y="838"/>
                    </a:lnTo>
                    <a:lnTo>
                      <a:pt x="3417" y="764"/>
                    </a:lnTo>
                    <a:lnTo>
                      <a:pt x="3360" y="692"/>
                    </a:lnTo>
                    <a:lnTo>
                      <a:pt x="3300" y="623"/>
                    </a:lnTo>
                    <a:lnTo>
                      <a:pt x="3238" y="557"/>
                    </a:lnTo>
                    <a:lnTo>
                      <a:pt x="3171" y="495"/>
                    </a:lnTo>
                    <a:lnTo>
                      <a:pt x="3103" y="435"/>
                    </a:lnTo>
                    <a:lnTo>
                      <a:pt x="3031" y="378"/>
                    </a:lnTo>
                    <a:lnTo>
                      <a:pt x="2957" y="325"/>
                    </a:lnTo>
                    <a:lnTo>
                      <a:pt x="2879" y="276"/>
                    </a:lnTo>
                    <a:lnTo>
                      <a:pt x="2800" y="230"/>
                    </a:lnTo>
                    <a:lnTo>
                      <a:pt x="2718" y="187"/>
                    </a:lnTo>
                    <a:lnTo>
                      <a:pt x="2634" y="150"/>
                    </a:lnTo>
                    <a:lnTo>
                      <a:pt x="2548" y="116"/>
                    </a:lnTo>
                    <a:lnTo>
                      <a:pt x="2460" y="86"/>
                    </a:lnTo>
                    <a:lnTo>
                      <a:pt x="2370" y="60"/>
                    </a:lnTo>
                    <a:lnTo>
                      <a:pt x="2279" y="39"/>
                    </a:lnTo>
                    <a:lnTo>
                      <a:pt x="2185" y="22"/>
                    </a:lnTo>
                    <a:lnTo>
                      <a:pt x="2090" y="10"/>
                    </a:lnTo>
                    <a:lnTo>
                      <a:pt x="1994" y="3"/>
                    </a:lnTo>
                    <a:lnTo>
                      <a:pt x="1897" y="0"/>
                    </a:lnTo>
                    <a:lnTo>
                      <a:pt x="1799" y="3"/>
                    </a:lnTo>
                    <a:lnTo>
                      <a:pt x="1703" y="10"/>
                    </a:lnTo>
                    <a:lnTo>
                      <a:pt x="1609" y="22"/>
                    </a:lnTo>
                    <a:lnTo>
                      <a:pt x="1516" y="39"/>
                    </a:lnTo>
                    <a:lnTo>
                      <a:pt x="1423" y="60"/>
                    </a:lnTo>
                    <a:lnTo>
                      <a:pt x="1334" y="86"/>
                    </a:lnTo>
                    <a:lnTo>
                      <a:pt x="1246" y="116"/>
                    </a:lnTo>
                    <a:lnTo>
                      <a:pt x="1160" y="150"/>
                    </a:lnTo>
                    <a:lnTo>
                      <a:pt x="1076" y="187"/>
                    </a:lnTo>
                    <a:lnTo>
                      <a:pt x="994" y="230"/>
                    </a:lnTo>
                    <a:lnTo>
                      <a:pt x="914" y="276"/>
                    </a:lnTo>
                    <a:lnTo>
                      <a:pt x="837" y="325"/>
                    </a:lnTo>
                    <a:lnTo>
                      <a:pt x="763" y="378"/>
                    </a:lnTo>
                    <a:lnTo>
                      <a:pt x="691" y="435"/>
                    </a:lnTo>
                    <a:lnTo>
                      <a:pt x="622" y="495"/>
                    </a:lnTo>
                    <a:lnTo>
                      <a:pt x="557" y="557"/>
                    </a:lnTo>
                    <a:lnTo>
                      <a:pt x="494" y="623"/>
                    </a:lnTo>
                    <a:lnTo>
                      <a:pt x="434" y="692"/>
                    </a:lnTo>
                    <a:lnTo>
                      <a:pt x="377" y="764"/>
                    </a:lnTo>
                    <a:lnTo>
                      <a:pt x="325" y="838"/>
                    </a:lnTo>
                    <a:lnTo>
                      <a:pt x="275" y="916"/>
                    </a:lnTo>
                    <a:lnTo>
                      <a:pt x="229" y="995"/>
                    </a:lnTo>
                    <a:lnTo>
                      <a:pt x="188" y="1077"/>
                    </a:lnTo>
                    <a:lnTo>
                      <a:pt x="149" y="1161"/>
                    </a:lnTo>
                    <a:lnTo>
                      <a:pt x="116" y="1247"/>
                    </a:lnTo>
                    <a:lnTo>
                      <a:pt x="85" y="1335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10"/>
                    </a:lnTo>
                    <a:lnTo>
                      <a:pt x="10" y="1705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6"/>
                    </a:lnTo>
                    <a:lnTo>
                      <a:pt x="10" y="2092"/>
                    </a:lnTo>
                    <a:lnTo>
                      <a:pt x="22" y="2187"/>
                    </a:lnTo>
                    <a:lnTo>
                      <a:pt x="38" y="2279"/>
                    </a:lnTo>
                    <a:lnTo>
                      <a:pt x="60" y="2372"/>
                    </a:lnTo>
                    <a:lnTo>
                      <a:pt x="85" y="2461"/>
                    </a:lnTo>
                    <a:lnTo>
                      <a:pt x="116" y="2550"/>
                    </a:lnTo>
                    <a:lnTo>
                      <a:pt x="149" y="2636"/>
                    </a:lnTo>
                    <a:lnTo>
                      <a:pt x="188" y="2720"/>
                    </a:lnTo>
                    <a:lnTo>
                      <a:pt x="229" y="2801"/>
                    </a:lnTo>
                    <a:lnTo>
                      <a:pt x="275" y="2881"/>
                    </a:lnTo>
                    <a:lnTo>
                      <a:pt x="325" y="2958"/>
                    </a:lnTo>
                    <a:lnTo>
                      <a:pt x="377" y="3032"/>
                    </a:lnTo>
                    <a:lnTo>
                      <a:pt x="434" y="3104"/>
                    </a:lnTo>
                    <a:lnTo>
                      <a:pt x="494" y="3173"/>
                    </a:lnTo>
                    <a:lnTo>
                      <a:pt x="557" y="3238"/>
                    </a:lnTo>
                    <a:lnTo>
                      <a:pt x="622" y="3302"/>
                    </a:lnTo>
                    <a:lnTo>
                      <a:pt x="691" y="3362"/>
                    </a:lnTo>
                    <a:lnTo>
                      <a:pt x="763" y="3418"/>
                    </a:lnTo>
                    <a:lnTo>
                      <a:pt x="837" y="3471"/>
                    </a:lnTo>
                    <a:lnTo>
                      <a:pt x="914" y="3521"/>
                    </a:lnTo>
                    <a:lnTo>
                      <a:pt x="994" y="3566"/>
                    </a:lnTo>
                    <a:lnTo>
                      <a:pt x="1076" y="3608"/>
                    </a:lnTo>
                    <a:lnTo>
                      <a:pt x="1160" y="3646"/>
                    </a:lnTo>
                    <a:lnTo>
                      <a:pt x="1246" y="3680"/>
                    </a:lnTo>
                    <a:lnTo>
                      <a:pt x="1334" y="3710"/>
                    </a:lnTo>
                    <a:lnTo>
                      <a:pt x="1423" y="3735"/>
                    </a:lnTo>
                    <a:lnTo>
                      <a:pt x="1516" y="3757"/>
                    </a:lnTo>
                    <a:lnTo>
                      <a:pt x="1609" y="3774"/>
                    </a:lnTo>
                    <a:lnTo>
                      <a:pt x="1703" y="3786"/>
                    </a:lnTo>
                    <a:lnTo>
                      <a:pt x="1799" y="3793"/>
                    </a:lnTo>
                    <a:lnTo>
                      <a:pt x="1897" y="379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6" name="Freeform 274"/>
              <p:cNvSpPr>
                <a:spLocks/>
              </p:cNvSpPr>
              <p:nvPr/>
            </p:nvSpPr>
            <p:spPr bwMode="auto">
              <a:xfrm>
                <a:off x="2511" y="1603"/>
                <a:ext cx="759" cy="759"/>
              </a:xfrm>
              <a:custGeom>
                <a:avLst/>
                <a:gdLst/>
                <a:ahLst/>
                <a:cxnLst>
                  <a:cxn ang="0">
                    <a:pos x="2090" y="3785"/>
                  </a:cxn>
                  <a:cxn ang="0">
                    <a:pos x="2370" y="3735"/>
                  </a:cxn>
                  <a:cxn ang="0">
                    <a:pos x="2634" y="3646"/>
                  </a:cxn>
                  <a:cxn ang="0">
                    <a:pos x="2879" y="3520"/>
                  </a:cxn>
                  <a:cxn ang="0">
                    <a:pos x="3103" y="3361"/>
                  </a:cxn>
                  <a:cxn ang="0">
                    <a:pos x="3300" y="3173"/>
                  </a:cxn>
                  <a:cxn ang="0">
                    <a:pos x="3470" y="2957"/>
                  </a:cxn>
                  <a:cxn ang="0">
                    <a:pos x="3606" y="2719"/>
                  </a:cxn>
                  <a:cxn ang="0">
                    <a:pos x="3708" y="2461"/>
                  </a:cxn>
                  <a:cxn ang="0">
                    <a:pos x="3772" y="2185"/>
                  </a:cxn>
                  <a:cxn ang="0">
                    <a:pos x="3795" y="1898"/>
                  </a:cxn>
                  <a:cxn ang="0">
                    <a:pos x="3772" y="1609"/>
                  </a:cxn>
                  <a:cxn ang="0">
                    <a:pos x="3708" y="1334"/>
                  </a:cxn>
                  <a:cxn ang="0">
                    <a:pos x="3606" y="1076"/>
                  </a:cxn>
                  <a:cxn ang="0">
                    <a:pos x="3470" y="838"/>
                  </a:cxn>
                  <a:cxn ang="0">
                    <a:pos x="3300" y="622"/>
                  </a:cxn>
                  <a:cxn ang="0">
                    <a:pos x="3103" y="434"/>
                  </a:cxn>
                  <a:cxn ang="0">
                    <a:pos x="2879" y="276"/>
                  </a:cxn>
                  <a:cxn ang="0">
                    <a:pos x="2634" y="149"/>
                  </a:cxn>
                  <a:cxn ang="0">
                    <a:pos x="2370" y="60"/>
                  </a:cxn>
                  <a:cxn ang="0">
                    <a:pos x="2090" y="10"/>
                  </a:cxn>
                  <a:cxn ang="0">
                    <a:pos x="1799" y="2"/>
                  </a:cxn>
                  <a:cxn ang="0">
                    <a:pos x="1516" y="38"/>
                  </a:cxn>
                  <a:cxn ang="0">
                    <a:pos x="1245" y="115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7" y="763"/>
                  </a:cxn>
                  <a:cxn ang="0">
                    <a:pos x="229" y="994"/>
                  </a:cxn>
                  <a:cxn ang="0">
                    <a:pos x="115" y="1246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2"/>
                  </a:cxn>
                  <a:cxn ang="0">
                    <a:pos x="60" y="2371"/>
                  </a:cxn>
                  <a:cxn ang="0">
                    <a:pos x="149" y="2636"/>
                  </a:cxn>
                  <a:cxn ang="0">
                    <a:pos x="274" y="2881"/>
                  </a:cxn>
                  <a:cxn ang="0">
                    <a:pos x="434" y="3103"/>
                  </a:cxn>
                  <a:cxn ang="0">
                    <a:pos x="622" y="3302"/>
                  </a:cxn>
                  <a:cxn ang="0">
                    <a:pos x="837" y="3470"/>
                  </a:cxn>
                  <a:cxn ang="0">
                    <a:pos x="1075" y="3608"/>
                  </a:cxn>
                  <a:cxn ang="0">
                    <a:pos x="1334" y="3709"/>
                  </a:cxn>
                  <a:cxn ang="0">
                    <a:pos x="1608" y="3773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4" y="3793"/>
                    </a:lnTo>
                    <a:lnTo>
                      <a:pt x="2090" y="3785"/>
                    </a:lnTo>
                    <a:lnTo>
                      <a:pt x="2185" y="3773"/>
                    </a:lnTo>
                    <a:lnTo>
                      <a:pt x="2279" y="3756"/>
                    </a:lnTo>
                    <a:lnTo>
                      <a:pt x="2370" y="3735"/>
                    </a:lnTo>
                    <a:lnTo>
                      <a:pt x="2460" y="3709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8" y="3608"/>
                    </a:lnTo>
                    <a:lnTo>
                      <a:pt x="2800" y="3565"/>
                    </a:lnTo>
                    <a:lnTo>
                      <a:pt x="2879" y="3520"/>
                    </a:lnTo>
                    <a:lnTo>
                      <a:pt x="2956" y="3470"/>
                    </a:lnTo>
                    <a:lnTo>
                      <a:pt x="3031" y="3417"/>
                    </a:lnTo>
                    <a:lnTo>
                      <a:pt x="3103" y="3361"/>
                    </a:lnTo>
                    <a:lnTo>
                      <a:pt x="3171" y="3302"/>
                    </a:lnTo>
                    <a:lnTo>
                      <a:pt x="3238" y="3238"/>
                    </a:lnTo>
                    <a:lnTo>
                      <a:pt x="3300" y="3173"/>
                    </a:lnTo>
                    <a:lnTo>
                      <a:pt x="3360" y="3103"/>
                    </a:lnTo>
                    <a:lnTo>
                      <a:pt x="3416" y="3031"/>
                    </a:lnTo>
                    <a:lnTo>
                      <a:pt x="3470" y="2957"/>
                    </a:lnTo>
                    <a:lnTo>
                      <a:pt x="3519" y="2881"/>
                    </a:lnTo>
                    <a:lnTo>
                      <a:pt x="3565" y="2801"/>
                    </a:lnTo>
                    <a:lnTo>
                      <a:pt x="3606" y="2719"/>
                    </a:lnTo>
                    <a:lnTo>
                      <a:pt x="3644" y="2636"/>
                    </a:lnTo>
                    <a:lnTo>
                      <a:pt x="3679" y="2549"/>
                    </a:lnTo>
                    <a:lnTo>
                      <a:pt x="3708" y="2461"/>
                    </a:lnTo>
                    <a:lnTo>
                      <a:pt x="3735" y="2371"/>
                    </a:lnTo>
                    <a:lnTo>
                      <a:pt x="3755" y="2279"/>
                    </a:lnTo>
                    <a:lnTo>
                      <a:pt x="3772" y="2185"/>
                    </a:lnTo>
                    <a:lnTo>
                      <a:pt x="3785" y="2092"/>
                    </a:lnTo>
                    <a:lnTo>
                      <a:pt x="3791" y="1995"/>
                    </a:lnTo>
                    <a:lnTo>
                      <a:pt x="3795" y="1898"/>
                    </a:lnTo>
                    <a:lnTo>
                      <a:pt x="3791" y="1801"/>
                    </a:lnTo>
                    <a:lnTo>
                      <a:pt x="3785" y="1704"/>
                    </a:lnTo>
                    <a:lnTo>
                      <a:pt x="3772" y="1609"/>
                    </a:lnTo>
                    <a:lnTo>
                      <a:pt x="3755" y="1516"/>
                    </a:lnTo>
                    <a:lnTo>
                      <a:pt x="3735" y="1425"/>
                    </a:lnTo>
                    <a:lnTo>
                      <a:pt x="3708" y="1334"/>
                    </a:lnTo>
                    <a:lnTo>
                      <a:pt x="3679" y="1246"/>
                    </a:lnTo>
                    <a:lnTo>
                      <a:pt x="3644" y="1160"/>
                    </a:lnTo>
                    <a:lnTo>
                      <a:pt x="3606" y="1076"/>
                    </a:lnTo>
                    <a:lnTo>
                      <a:pt x="3565" y="994"/>
                    </a:lnTo>
                    <a:lnTo>
                      <a:pt x="3519" y="914"/>
                    </a:lnTo>
                    <a:lnTo>
                      <a:pt x="3470" y="838"/>
                    </a:lnTo>
                    <a:lnTo>
                      <a:pt x="3416" y="763"/>
                    </a:lnTo>
                    <a:lnTo>
                      <a:pt x="3360" y="692"/>
                    </a:lnTo>
                    <a:lnTo>
                      <a:pt x="3300" y="622"/>
                    </a:lnTo>
                    <a:lnTo>
                      <a:pt x="3238" y="557"/>
                    </a:lnTo>
                    <a:lnTo>
                      <a:pt x="3171" y="494"/>
                    </a:lnTo>
                    <a:lnTo>
                      <a:pt x="3103" y="434"/>
                    </a:lnTo>
                    <a:lnTo>
                      <a:pt x="3031" y="378"/>
                    </a:lnTo>
                    <a:lnTo>
                      <a:pt x="2956" y="325"/>
                    </a:lnTo>
                    <a:lnTo>
                      <a:pt x="2879" y="276"/>
                    </a:lnTo>
                    <a:lnTo>
                      <a:pt x="2800" y="230"/>
                    </a:lnTo>
                    <a:lnTo>
                      <a:pt x="2718" y="187"/>
                    </a:lnTo>
                    <a:lnTo>
                      <a:pt x="2634" y="149"/>
                    </a:lnTo>
                    <a:lnTo>
                      <a:pt x="2548" y="115"/>
                    </a:lnTo>
                    <a:lnTo>
                      <a:pt x="2460" y="85"/>
                    </a:lnTo>
                    <a:lnTo>
                      <a:pt x="2370" y="60"/>
                    </a:lnTo>
                    <a:lnTo>
                      <a:pt x="2279" y="38"/>
                    </a:lnTo>
                    <a:lnTo>
                      <a:pt x="2185" y="22"/>
                    </a:lnTo>
                    <a:lnTo>
                      <a:pt x="2090" y="10"/>
                    </a:lnTo>
                    <a:lnTo>
                      <a:pt x="1994" y="2"/>
                    </a:lnTo>
                    <a:lnTo>
                      <a:pt x="1897" y="0"/>
                    </a:lnTo>
                    <a:lnTo>
                      <a:pt x="1799" y="2"/>
                    </a:lnTo>
                    <a:lnTo>
                      <a:pt x="1703" y="10"/>
                    </a:lnTo>
                    <a:lnTo>
                      <a:pt x="1608" y="22"/>
                    </a:lnTo>
                    <a:lnTo>
                      <a:pt x="1516" y="38"/>
                    </a:lnTo>
                    <a:lnTo>
                      <a:pt x="1423" y="60"/>
                    </a:lnTo>
                    <a:lnTo>
                      <a:pt x="1334" y="85"/>
                    </a:lnTo>
                    <a:lnTo>
                      <a:pt x="1245" y="115"/>
                    </a:lnTo>
                    <a:lnTo>
                      <a:pt x="1159" y="149"/>
                    </a:lnTo>
                    <a:lnTo>
                      <a:pt x="1075" y="187"/>
                    </a:lnTo>
                    <a:lnTo>
                      <a:pt x="994" y="230"/>
                    </a:lnTo>
                    <a:lnTo>
                      <a:pt x="914" y="276"/>
                    </a:lnTo>
                    <a:lnTo>
                      <a:pt x="837" y="325"/>
                    </a:lnTo>
                    <a:lnTo>
                      <a:pt x="763" y="378"/>
                    </a:lnTo>
                    <a:lnTo>
                      <a:pt x="691" y="434"/>
                    </a:lnTo>
                    <a:lnTo>
                      <a:pt x="622" y="494"/>
                    </a:lnTo>
                    <a:lnTo>
                      <a:pt x="557" y="557"/>
                    </a:lnTo>
                    <a:lnTo>
                      <a:pt x="494" y="622"/>
                    </a:lnTo>
                    <a:lnTo>
                      <a:pt x="434" y="692"/>
                    </a:lnTo>
                    <a:lnTo>
                      <a:pt x="377" y="763"/>
                    </a:lnTo>
                    <a:lnTo>
                      <a:pt x="325" y="838"/>
                    </a:lnTo>
                    <a:lnTo>
                      <a:pt x="274" y="914"/>
                    </a:lnTo>
                    <a:lnTo>
                      <a:pt x="229" y="994"/>
                    </a:lnTo>
                    <a:lnTo>
                      <a:pt x="187" y="1076"/>
                    </a:lnTo>
                    <a:lnTo>
                      <a:pt x="149" y="1160"/>
                    </a:lnTo>
                    <a:lnTo>
                      <a:pt x="115" y="1246"/>
                    </a:lnTo>
                    <a:lnTo>
                      <a:pt x="85" y="1334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09"/>
                    </a:lnTo>
                    <a:lnTo>
                      <a:pt x="10" y="1704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5"/>
                    </a:lnTo>
                    <a:lnTo>
                      <a:pt x="10" y="2092"/>
                    </a:lnTo>
                    <a:lnTo>
                      <a:pt x="22" y="2185"/>
                    </a:lnTo>
                    <a:lnTo>
                      <a:pt x="38" y="2279"/>
                    </a:lnTo>
                    <a:lnTo>
                      <a:pt x="60" y="2371"/>
                    </a:lnTo>
                    <a:lnTo>
                      <a:pt x="85" y="2461"/>
                    </a:lnTo>
                    <a:lnTo>
                      <a:pt x="115" y="2549"/>
                    </a:lnTo>
                    <a:lnTo>
                      <a:pt x="149" y="2636"/>
                    </a:lnTo>
                    <a:lnTo>
                      <a:pt x="187" y="2719"/>
                    </a:lnTo>
                    <a:lnTo>
                      <a:pt x="229" y="2801"/>
                    </a:lnTo>
                    <a:lnTo>
                      <a:pt x="274" y="2881"/>
                    </a:lnTo>
                    <a:lnTo>
                      <a:pt x="325" y="2957"/>
                    </a:lnTo>
                    <a:lnTo>
                      <a:pt x="377" y="3031"/>
                    </a:lnTo>
                    <a:lnTo>
                      <a:pt x="434" y="3103"/>
                    </a:lnTo>
                    <a:lnTo>
                      <a:pt x="494" y="3173"/>
                    </a:lnTo>
                    <a:lnTo>
                      <a:pt x="557" y="3238"/>
                    </a:lnTo>
                    <a:lnTo>
                      <a:pt x="622" y="3302"/>
                    </a:lnTo>
                    <a:lnTo>
                      <a:pt x="691" y="3361"/>
                    </a:lnTo>
                    <a:lnTo>
                      <a:pt x="763" y="3417"/>
                    </a:lnTo>
                    <a:lnTo>
                      <a:pt x="837" y="3470"/>
                    </a:lnTo>
                    <a:lnTo>
                      <a:pt x="914" y="3520"/>
                    </a:lnTo>
                    <a:lnTo>
                      <a:pt x="994" y="3565"/>
                    </a:lnTo>
                    <a:lnTo>
                      <a:pt x="1075" y="3608"/>
                    </a:lnTo>
                    <a:lnTo>
                      <a:pt x="1159" y="3646"/>
                    </a:lnTo>
                    <a:lnTo>
                      <a:pt x="1245" y="3680"/>
                    </a:lnTo>
                    <a:lnTo>
                      <a:pt x="1334" y="3709"/>
                    </a:lnTo>
                    <a:lnTo>
                      <a:pt x="1423" y="3735"/>
                    </a:lnTo>
                    <a:lnTo>
                      <a:pt x="1516" y="3756"/>
                    </a:lnTo>
                    <a:lnTo>
                      <a:pt x="1608" y="3773"/>
                    </a:lnTo>
                    <a:lnTo>
                      <a:pt x="1703" y="3785"/>
                    </a:lnTo>
                    <a:lnTo>
                      <a:pt x="1799" y="3793"/>
                    </a:lnTo>
                    <a:lnTo>
                      <a:pt x="1897" y="379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7" name="Freeform 275"/>
              <p:cNvSpPr>
                <a:spLocks/>
              </p:cNvSpPr>
              <p:nvPr/>
            </p:nvSpPr>
            <p:spPr bwMode="auto">
              <a:xfrm>
                <a:off x="1435" y="1574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6"/>
                  </a:cxn>
                  <a:cxn ang="0">
                    <a:pos x="2634" y="3645"/>
                  </a:cxn>
                  <a:cxn ang="0">
                    <a:pos x="2880" y="3520"/>
                  </a:cxn>
                  <a:cxn ang="0">
                    <a:pos x="3103" y="3361"/>
                  </a:cxn>
                  <a:cxn ang="0">
                    <a:pos x="3300" y="3172"/>
                  </a:cxn>
                  <a:cxn ang="0">
                    <a:pos x="3470" y="2957"/>
                  </a:cxn>
                  <a:cxn ang="0">
                    <a:pos x="3608" y="2719"/>
                  </a:cxn>
                  <a:cxn ang="0">
                    <a:pos x="3709" y="2460"/>
                  </a:cxn>
                  <a:cxn ang="0">
                    <a:pos x="3773" y="2186"/>
                  </a:cxn>
                  <a:cxn ang="0">
                    <a:pos x="3795" y="1898"/>
                  </a:cxn>
                  <a:cxn ang="0">
                    <a:pos x="3773" y="1609"/>
                  </a:cxn>
                  <a:cxn ang="0">
                    <a:pos x="3709" y="1334"/>
                  </a:cxn>
                  <a:cxn ang="0">
                    <a:pos x="3608" y="1076"/>
                  </a:cxn>
                  <a:cxn ang="0">
                    <a:pos x="3470" y="837"/>
                  </a:cxn>
                  <a:cxn ang="0">
                    <a:pos x="3300" y="623"/>
                  </a:cxn>
                  <a:cxn ang="0">
                    <a:pos x="3103" y="434"/>
                  </a:cxn>
                  <a:cxn ang="0">
                    <a:pos x="2880" y="275"/>
                  </a:cxn>
                  <a:cxn ang="0">
                    <a:pos x="2634" y="149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0" y="2"/>
                  </a:cxn>
                  <a:cxn ang="0">
                    <a:pos x="1516" y="38"/>
                  </a:cxn>
                  <a:cxn ang="0">
                    <a:pos x="1246" y="116"/>
                  </a:cxn>
                  <a:cxn ang="0">
                    <a:pos x="994" y="229"/>
                  </a:cxn>
                  <a:cxn ang="0">
                    <a:pos x="763" y="377"/>
                  </a:cxn>
                  <a:cxn ang="0">
                    <a:pos x="557" y="557"/>
                  </a:cxn>
                  <a:cxn ang="0">
                    <a:pos x="377" y="763"/>
                  </a:cxn>
                  <a:cxn ang="0">
                    <a:pos x="229" y="994"/>
                  </a:cxn>
                  <a:cxn ang="0">
                    <a:pos x="116" y="1246"/>
                  </a:cxn>
                  <a:cxn ang="0">
                    <a:pos x="39" y="1516"/>
                  </a:cxn>
                  <a:cxn ang="0">
                    <a:pos x="3" y="1800"/>
                  </a:cxn>
                  <a:cxn ang="0">
                    <a:pos x="10" y="2091"/>
                  </a:cxn>
                  <a:cxn ang="0">
                    <a:pos x="60" y="2371"/>
                  </a:cxn>
                  <a:cxn ang="0">
                    <a:pos x="150" y="2635"/>
                  </a:cxn>
                  <a:cxn ang="0">
                    <a:pos x="275" y="2880"/>
                  </a:cxn>
                  <a:cxn ang="0">
                    <a:pos x="434" y="3103"/>
                  </a:cxn>
                  <a:cxn ang="0">
                    <a:pos x="623" y="3301"/>
                  </a:cxn>
                  <a:cxn ang="0">
                    <a:pos x="838" y="3471"/>
                  </a:cxn>
                  <a:cxn ang="0">
                    <a:pos x="1076" y="3608"/>
                  </a:cxn>
                  <a:cxn ang="0">
                    <a:pos x="1334" y="3709"/>
                  </a:cxn>
                  <a:cxn ang="0">
                    <a:pos x="1609" y="3774"/>
                  </a:cxn>
                  <a:cxn ang="0">
                    <a:pos x="1898" y="3795"/>
                  </a:cxn>
                </a:cxnLst>
                <a:rect l="0" t="0" r="r" b="b"/>
                <a:pathLst>
                  <a:path w="3795" h="3795">
                    <a:moveTo>
                      <a:pt x="1898" y="3795"/>
                    </a:moveTo>
                    <a:lnTo>
                      <a:pt x="1995" y="3792"/>
                    </a:lnTo>
                    <a:lnTo>
                      <a:pt x="2091" y="3786"/>
                    </a:lnTo>
                    <a:lnTo>
                      <a:pt x="2185" y="3774"/>
                    </a:lnTo>
                    <a:lnTo>
                      <a:pt x="2279" y="3756"/>
                    </a:lnTo>
                    <a:lnTo>
                      <a:pt x="2371" y="3736"/>
                    </a:lnTo>
                    <a:lnTo>
                      <a:pt x="2460" y="3709"/>
                    </a:lnTo>
                    <a:lnTo>
                      <a:pt x="2548" y="3680"/>
                    </a:lnTo>
                    <a:lnTo>
                      <a:pt x="2634" y="3645"/>
                    </a:lnTo>
                    <a:lnTo>
                      <a:pt x="2718" y="3608"/>
                    </a:lnTo>
                    <a:lnTo>
                      <a:pt x="2800" y="3566"/>
                    </a:lnTo>
                    <a:lnTo>
                      <a:pt x="2880" y="3520"/>
                    </a:lnTo>
                    <a:lnTo>
                      <a:pt x="2957" y="3471"/>
                    </a:lnTo>
                    <a:lnTo>
                      <a:pt x="3031" y="3417"/>
                    </a:lnTo>
                    <a:lnTo>
                      <a:pt x="3103" y="3361"/>
                    </a:lnTo>
                    <a:lnTo>
                      <a:pt x="3172" y="3301"/>
                    </a:lnTo>
                    <a:lnTo>
                      <a:pt x="3238" y="3239"/>
                    </a:lnTo>
                    <a:lnTo>
                      <a:pt x="3300" y="3172"/>
                    </a:lnTo>
                    <a:lnTo>
                      <a:pt x="3360" y="3103"/>
                    </a:lnTo>
                    <a:lnTo>
                      <a:pt x="3417" y="3031"/>
                    </a:lnTo>
                    <a:lnTo>
                      <a:pt x="3470" y="2957"/>
                    </a:lnTo>
                    <a:lnTo>
                      <a:pt x="3519" y="2880"/>
                    </a:lnTo>
                    <a:lnTo>
                      <a:pt x="3565" y="2800"/>
                    </a:lnTo>
                    <a:lnTo>
                      <a:pt x="3608" y="2719"/>
                    </a:lnTo>
                    <a:lnTo>
                      <a:pt x="3646" y="2635"/>
                    </a:lnTo>
                    <a:lnTo>
                      <a:pt x="3680" y="2549"/>
                    </a:lnTo>
                    <a:lnTo>
                      <a:pt x="3709" y="2460"/>
                    </a:lnTo>
                    <a:lnTo>
                      <a:pt x="3735" y="2371"/>
                    </a:lnTo>
                    <a:lnTo>
                      <a:pt x="3756" y="2279"/>
                    </a:lnTo>
                    <a:lnTo>
                      <a:pt x="3773" y="2186"/>
                    </a:lnTo>
                    <a:lnTo>
                      <a:pt x="3785" y="2091"/>
                    </a:lnTo>
                    <a:lnTo>
                      <a:pt x="3792" y="1995"/>
                    </a:lnTo>
                    <a:lnTo>
                      <a:pt x="3795" y="1898"/>
                    </a:lnTo>
                    <a:lnTo>
                      <a:pt x="3792" y="1800"/>
                    </a:lnTo>
                    <a:lnTo>
                      <a:pt x="3785" y="1704"/>
                    </a:lnTo>
                    <a:lnTo>
                      <a:pt x="3773" y="1609"/>
                    </a:lnTo>
                    <a:lnTo>
                      <a:pt x="3756" y="1516"/>
                    </a:lnTo>
                    <a:lnTo>
                      <a:pt x="3735" y="1424"/>
                    </a:lnTo>
                    <a:lnTo>
                      <a:pt x="3709" y="1334"/>
                    </a:lnTo>
                    <a:lnTo>
                      <a:pt x="3680" y="1246"/>
                    </a:lnTo>
                    <a:lnTo>
                      <a:pt x="3646" y="1160"/>
                    </a:lnTo>
                    <a:lnTo>
                      <a:pt x="3608" y="1076"/>
                    </a:lnTo>
                    <a:lnTo>
                      <a:pt x="3565" y="994"/>
                    </a:lnTo>
                    <a:lnTo>
                      <a:pt x="3519" y="915"/>
                    </a:lnTo>
                    <a:lnTo>
                      <a:pt x="3470" y="837"/>
                    </a:lnTo>
                    <a:lnTo>
                      <a:pt x="3417" y="763"/>
                    </a:lnTo>
                    <a:lnTo>
                      <a:pt x="3360" y="691"/>
                    </a:lnTo>
                    <a:lnTo>
                      <a:pt x="3300" y="623"/>
                    </a:lnTo>
                    <a:lnTo>
                      <a:pt x="3238" y="557"/>
                    </a:lnTo>
                    <a:lnTo>
                      <a:pt x="3172" y="494"/>
                    </a:lnTo>
                    <a:lnTo>
                      <a:pt x="3103" y="434"/>
                    </a:lnTo>
                    <a:lnTo>
                      <a:pt x="3031" y="377"/>
                    </a:lnTo>
                    <a:lnTo>
                      <a:pt x="2957" y="325"/>
                    </a:lnTo>
                    <a:lnTo>
                      <a:pt x="2880" y="275"/>
                    </a:lnTo>
                    <a:lnTo>
                      <a:pt x="2800" y="229"/>
                    </a:lnTo>
                    <a:lnTo>
                      <a:pt x="2718" y="188"/>
                    </a:lnTo>
                    <a:lnTo>
                      <a:pt x="2634" y="149"/>
                    </a:lnTo>
                    <a:lnTo>
                      <a:pt x="2548" y="116"/>
                    </a:lnTo>
                    <a:lnTo>
                      <a:pt x="2460" y="85"/>
                    </a:lnTo>
                    <a:lnTo>
                      <a:pt x="2371" y="60"/>
                    </a:lnTo>
                    <a:lnTo>
                      <a:pt x="2279" y="38"/>
                    </a:lnTo>
                    <a:lnTo>
                      <a:pt x="2185" y="22"/>
                    </a:lnTo>
                    <a:lnTo>
                      <a:pt x="2091" y="10"/>
                    </a:lnTo>
                    <a:lnTo>
                      <a:pt x="1995" y="2"/>
                    </a:lnTo>
                    <a:lnTo>
                      <a:pt x="1898" y="0"/>
                    </a:lnTo>
                    <a:lnTo>
                      <a:pt x="1800" y="2"/>
                    </a:lnTo>
                    <a:lnTo>
                      <a:pt x="1704" y="10"/>
                    </a:lnTo>
                    <a:lnTo>
                      <a:pt x="1609" y="22"/>
                    </a:lnTo>
                    <a:lnTo>
                      <a:pt x="1516" y="38"/>
                    </a:lnTo>
                    <a:lnTo>
                      <a:pt x="1425" y="60"/>
                    </a:lnTo>
                    <a:lnTo>
                      <a:pt x="1334" y="85"/>
                    </a:lnTo>
                    <a:lnTo>
                      <a:pt x="1246" y="116"/>
                    </a:lnTo>
                    <a:lnTo>
                      <a:pt x="1160" y="149"/>
                    </a:lnTo>
                    <a:lnTo>
                      <a:pt x="1076" y="188"/>
                    </a:lnTo>
                    <a:lnTo>
                      <a:pt x="994" y="229"/>
                    </a:lnTo>
                    <a:lnTo>
                      <a:pt x="915" y="275"/>
                    </a:lnTo>
                    <a:lnTo>
                      <a:pt x="838" y="325"/>
                    </a:lnTo>
                    <a:lnTo>
                      <a:pt x="763" y="377"/>
                    </a:lnTo>
                    <a:lnTo>
                      <a:pt x="691" y="434"/>
                    </a:lnTo>
                    <a:lnTo>
                      <a:pt x="623" y="494"/>
                    </a:lnTo>
                    <a:lnTo>
                      <a:pt x="557" y="557"/>
                    </a:lnTo>
                    <a:lnTo>
                      <a:pt x="494" y="623"/>
                    </a:lnTo>
                    <a:lnTo>
                      <a:pt x="434" y="691"/>
                    </a:lnTo>
                    <a:lnTo>
                      <a:pt x="377" y="763"/>
                    </a:lnTo>
                    <a:lnTo>
                      <a:pt x="325" y="837"/>
                    </a:lnTo>
                    <a:lnTo>
                      <a:pt x="275" y="915"/>
                    </a:lnTo>
                    <a:lnTo>
                      <a:pt x="229" y="994"/>
                    </a:lnTo>
                    <a:lnTo>
                      <a:pt x="188" y="1076"/>
                    </a:lnTo>
                    <a:lnTo>
                      <a:pt x="150" y="1160"/>
                    </a:lnTo>
                    <a:lnTo>
                      <a:pt x="116" y="1246"/>
                    </a:lnTo>
                    <a:lnTo>
                      <a:pt x="85" y="1334"/>
                    </a:lnTo>
                    <a:lnTo>
                      <a:pt x="60" y="1424"/>
                    </a:lnTo>
                    <a:lnTo>
                      <a:pt x="39" y="1516"/>
                    </a:lnTo>
                    <a:lnTo>
                      <a:pt x="22" y="1609"/>
                    </a:lnTo>
                    <a:lnTo>
                      <a:pt x="10" y="1704"/>
                    </a:lnTo>
                    <a:lnTo>
                      <a:pt x="3" y="1800"/>
                    </a:lnTo>
                    <a:lnTo>
                      <a:pt x="0" y="1898"/>
                    </a:lnTo>
                    <a:lnTo>
                      <a:pt x="3" y="1995"/>
                    </a:lnTo>
                    <a:lnTo>
                      <a:pt x="10" y="2091"/>
                    </a:lnTo>
                    <a:lnTo>
                      <a:pt x="22" y="2186"/>
                    </a:lnTo>
                    <a:lnTo>
                      <a:pt x="39" y="2279"/>
                    </a:lnTo>
                    <a:lnTo>
                      <a:pt x="60" y="2371"/>
                    </a:lnTo>
                    <a:lnTo>
                      <a:pt x="85" y="2460"/>
                    </a:lnTo>
                    <a:lnTo>
                      <a:pt x="116" y="2549"/>
                    </a:lnTo>
                    <a:lnTo>
                      <a:pt x="150" y="2635"/>
                    </a:lnTo>
                    <a:lnTo>
                      <a:pt x="188" y="2719"/>
                    </a:lnTo>
                    <a:lnTo>
                      <a:pt x="229" y="2800"/>
                    </a:lnTo>
                    <a:lnTo>
                      <a:pt x="275" y="2880"/>
                    </a:lnTo>
                    <a:lnTo>
                      <a:pt x="325" y="2957"/>
                    </a:lnTo>
                    <a:lnTo>
                      <a:pt x="377" y="3031"/>
                    </a:lnTo>
                    <a:lnTo>
                      <a:pt x="434" y="3103"/>
                    </a:lnTo>
                    <a:lnTo>
                      <a:pt x="494" y="3172"/>
                    </a:lnTo>
                    <a:lnTo>
                      <a:pt x="557" y="3239"/>
                    </a:lnTo>
                    <a:lnTo>
                      <a:pt x="623" y="3301"/>
                    </a:lnTo>
                    <a:lnTo>
                      <a:pt x="691" y="3361"/>
                    </a:lnTo>
                    <a:lnTo>
                      <a:pt x="763" y="3417"/>
                    </a:lnTo>
                    <a:lnTo>
                      <a:pt x="838" y="3471"/>
                    </a:lnTo>
                    <a:lnTo>
                      <a:pt x="915" y="3520"/>
                    </a:lnTo>
                    <a:lnTo>
                      <a:pt x="994" y="3566"/>
                    </a:lnTo>
                    <a:lnTo>
                      <a:pt x="1076" y="3608"/>
                    </a:lnTo>
                    <a:lnTo>
                      <a:pt x="1160" y="3645"/>
                    </a:lnTo>
                    <a:lnTo>
                      <a:pt x="1246" y="3680"/>
                    </a:lnTo>
                    <a:lnTo>
                      <a:pt x="1334" y="3709"/>
                    </a:lnTo>
                    <a:lnTo>
                      <a:pt x="1425" y="3736"/>
                    </a:lnTo>
                    <a:lnTo>
                      <a:pt x="1516" y="3756"/>
                    </a:lnTo>
                    <a:lnTo>
                      <a:pt x="1609" y="3774"/>
                    </a:lnTo>
                    <a:lnTo>
                      <a:pt x="1704" y="3786"/>
                    </a:lnTo>
                    <a:lnTo>
                      <a:pt x="1800" y="3792"/>
                    </a:lnTo>
                    <a:lnTo>
                      <a:pt x="1898" y="3795"/>
                    </a:lnTo>
                  </a:path>
                </a:pathLst>
              </a:custGeom>
              <a:noFill/>
              <a:ln w="3175">
                <a:solidFill>
                  <a:srgbClr val="1F1A1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8" name="Freeform 276"/>
              <p:cNvSpPr>
                <a:spLocks/>
              </p:cNvSpPr>
              <p:nvPr/>
            </p:nvSpPr>
            <p:spPr bwMode="auto">
              <a:xfrm>
                <a:off x="1454" y="2429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5"/>
                  </a:cxn>
                  <a:cxn ang="0">
                    <a:pos x="2634" y="3646"/>
                  </a:cxn>
                  <a:cxn ang="0">
                    <a:pos x="2880" y="3521"/>
                  </a:cxn>
                  <a:cxn ang="0">
                    <a:pos x="3103" y="3362"/>
                  </a:cxn>
                  <a:cxn ang="0">
                    <a:pos x="3301" y="3173"/>
                  </a:cxn>
                  <a:cxn ang="0">
                    <a:pos x="3470" y="2958"/>
                  </a:cxn>
                  <a:cxn ang="0">
                    <a:pos x="3608" y="2720"/>
                  </a:cxn>
                  <a:cxn ang="0">
                    <a:pos x="3709" y="2461"/>
                  </a:cxn>
                  <a:cxn ang="0">
                    <a:pos x="3773" y="2187"/>
                  </a:cxn>
                  <a:cxn ang="0">
                    <a:pos x="3795" y="1898"/>
                  </a:cxn>
                  <a:cxn ang="0">
                    <a:pos x="3773" y="1610"/>
                  </a:cxn>
                  <a:cxn ang="0">
                    <a:pos x="3709" y="1335"/>
                  </a:cxn>
                  <a:cxn ang="0">
                    <a:pos x="3608" y="1077"/>
                  </a:cxn>
                  <a:cxn ang="0">
                    <a:pos x="3470" y="838"/>
                  </a:cxn>
                  <a:cxn ang="0">
                    <a:pos x="3301" y="623"/>
                  </a:cxn>
                  <a:cxn ang="0">
                    <a:pos x="3103" y="435"/>
                  </a:cxn>
                  <a:cxn ang="0">
                    <a:pos x="2880" y="276"/>
                  </a:cxn>
                  <a:cxn ang="0">
                    <a:pos x="2634" y="150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1" y="3"/>
                  </a:cxn>
                  <a:cxn ang="0">
                    <a:pos x="1516" y="39"/>
                  </a:cxn>
                  <a:cxn ang="0">
                    <a:pos x="1246" y="116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8" y="764"/>
                  </a:cxn>
                  <a:cxn ang="0">
                    <a:pos x="230" y="995"/>
                  </a:cxn>
                  <a:cxn ang="0">
                    <a:pos x="116" y="1247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2"/>
                  </a:cxn>
                  <a:cxn ang="0">
                    <a:pos x="60" y="2372"/>
                  </a:cxn>
                  <a:cxn ang="0">
                    <a:pos x="150" y="2636"/>
                  </a:cxn>
                  <a:cxn ang="0">
                    <a:pos x="276" y="2881"/>
                  </a:cxn>
                  <a:cxn ang="0">
                    <a:pos x="434" y="3104"/>
                  </a:cxn>
                  <a:cxn ang="0">
                    <a:pos x="623" y="3302"/>
                  </a:cxn>
                  <a:cxn ang="0">
                    <a:pos x="838" y="3471"/>
                  </a:cxn>
                  <a:cxn ang="0">
                    <a:pos x="1076" y="3608"/>
                  </a:cxn>
                  <a:cxn ang="0">
                    <a:pos x="1334" y="3710"/>
                  </a:cxn>
                  <a:cxn ang="0">
                    <a:pos x="1609" y="3774"/>
                  </a:cxn>
                  <a:cxn ang="0">
                    <a:pos x="1898" y="3795"/>
                  </a:cxn>
                </a:cxnLst>
                <a:rect l="0" t="0" r="r" b="b"/>
                <a:pathLst>
                  <a:path w="3795" h="3795">
                    <a:moveTo>
                      <a:pt x="1898" y="3795"/>
                    </a:moveTo>
                    <a:lnTo>
                      <a:pt x="1995" y="3793"/>
                    </a:lnTo>
                    <a:lnTo>
                      <a:pt x="2091" y="3786"/>
                    </a:lnTo>
                    <a:lnTo>
                      <a:pt x="2185" y="3774"/>
                    </a:lnTo>
                    <a:lnTo>
                      <a:pt x="2279" y="3757"/>
                    </a:lnTo>
                    <a:lnTo>
                      <a:pt x="2371" y="3735"/>
                    </a:lnTo>
                    <a:lnTo>
                      <a:pt x="2461" y="3710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9" y="3608"/>
                    </a:lnTo>
                    <a:lnTo>
                      <a:pt x="2801" y="3566"/>
                    </a:lnTo>
                    <a:lnTo>
                      <a:pt x="2880" y="3521"/>
                    </a:lnTo>
                    <a:lnTo>
                      <a:pt x="2957" y="3471"/>
                    </a:lnTo>
                    <a:lnTo>
                      <a:pt x="3031" y="3418"/>
                    </a:lnTo>
                    <a:lnTo>
                      <a:pt x="3103" y="3362"/>
                    </a:lnTo>
                    <a:lnTo>
                      <a:pt x="3172" y="3302"/>
                    </a:lnTo>
                    <a:lnTo>
                      <a:pt x="3238" y="3238"/>
                    </a:lnTo>
                    <a:lnTo>
                      <a:pt x="3301" y="3173"/>
                    </a:lnTo>
                    <a:lnTo>
                      <a:pt x="3360" y="3104"/>
                    </a:lnTo>
                    <a:lnTo>
                      <a:pt x="3417" y="3032"/>
                    </a:lnTo>
                    <a:lnTo>
                      <a:pt x="3470" y="2958"/>
                    </a:lnTo>
                    <a:lnTo>
                      <a:pt x="3519" y="2881"/>
                    </a:lnTo>
                    <a:lnTo>
                      <a:pt x="3565" y="2801"/>
                    </a:lnTo>
                    <a:lnTo>
                      <a:pt x="3608" y="2720"/>
                    </a:lnTo>
                    <a:lnTo>
                      <a:pt x="3646" y="2636"/>
                    </a:lnTo>
                    <a:lnTo>
                      <a:pt x="3679" y="2550"/>
                    </a:lnTo>
                    <a:lnTo>
                      <a:pt x="3709" y="2461"/>
                    </a:lnTo>
                    <a:lnTo>
                      <a:pt x="3735" y="2372"/>
                    </a:lnTo>
                    <a:lnTo>
                      <a:pt x="3756" y="2279"/>
                    </a:lnTo>
                    <a:lnTo>
                      <a:pt x="3773" y="2187"/>
                    </a:lnTo>
                    <a:lnTo>
                      <a:pt x="3785" y="2092"/>
                    </a:lnTo>
                    <a:lnTo>
                      <a:pt x="3793" y="1996"/>
                    </a:lnTo>
                    <a:lnTo>
                      <a:pt x="3795" y="1898"/>
                    </a:lnTo>
                    <a:lnTo>
                      <a:pt x="3793" y="1801"/>
                    </a:lnTo>
                    <a:lnTo>
                      <a:pt x="3785" y="1705"/>
                    </a:lnTo>
                    <a:lnTo>
                      <a:pt x="3773" y="1610"/>
                    </a:lnTo>
                    <a:lnTo>
                      <a:pt x="3756" y="1516"/>
                    </a:lnTo>
                    <a:lnTo>
                      <a:pt x="3735" y="1425"/>
                    </a:lnTo>
                    <a:lnTo>
                      <a:pt x="3709" y="1335"/>
                    </a:lnTo>
                    <a:lnTo>
                      <a:pt x="3679" y="1247"/>
                    </a:lnTo>
                    <a:lnTo>
                      <a:pt x="3646" y="1161"/>
                    </a:lnTo>
                    <a:lnTo>
                      <a:pt x="3608" y="1077"/>
                    </a:lnTo>
                    <a:lnTo>
                      <a:pt x="3565" y="995"/>
                    </a:lnTo>
                    <a:lnTo>
                      <a:pt x="3519" y="916"/>
                    </a:lnTo>
                    <a:lnTo>
                      <a:pt x="3470" y="838"/>
                    </a:lnTo>
                    <a:lnTo>
                      <a:pt x="3417" y="764"/>
                    </a:lnTo>
                    <a:lnTo>
                      <a:pt x="3360" y="692"/>
                    </a:lnTo>
                    <a:lnTo>
                      <a:pt x="3301" y="623"/>
                    </a:lnTo>
                    <a:lnTo>
                      <a:pt x="3238" y="557"/>
                    </a:lnTo>
                    <a:lnTo>
                      <a:pt x="3172" y="495"/>
                    </a:lnTo>
                    <a:lnTo>
                      <a:pt x="3103" y="435"/>
                    </a:lnTo>
                    <a:lnTo>
                      <a:pt x="3031" y="378"/>
                    </a:lnTo>
                    <a:lnTo>
                      <a:pt x="2957" y="325"/>
                    </a:lnTo>
                    <a:lnTo>
                      <a:pt x="2880" y="276"/>
                    </a:lnTo>
                    <a:lnTo>
                      <a:pt x="2801" y="230"/>
                    </a:lnTo>
                    <a:lnTo>
                      <a:pt x="2719" y="187"/>
                    </a:lnTo>
                    <a:lnTo>
                      <a:pt x="2634" y="150"/>
                    </a:lnTo>
                    <a:lnTo>
                      <a:pt x="2548" y="116"/>
                    </a:lnTo>
                    <a:lnTo>
                      <a:pt x="2461" y="86"/>
                    </a:lnTo>
                    <a:lnTo>
                      <a:pt x="2371" y="60"/>
                    </a:lnTo>
                    <a:lnTo>
                      <a:pt x="2279" y="39"/>
                    </a:lnTo>
                    <a:lnTo>
                      <a:pt x="2185" y="22"/>
                    </a:lnTo>
                    <a:lnTo>
                      <a:pt x="2091" y="10"/>
                    </a:lnTo>
                    <a:lnTo>
                      <a:pt x="1995" y="3"/>
                    </a:lnTo>
                    <a:lnTo>
                      <a:pt x="1898" y="0"/>
                    </a:lnTo>
                    <a:lnTo>
                      <a:pt x="1801" y="3"/>
                    </a:lnTo>
                    <a:lnTo>
                      <a:pt x="1704" y="10"/>
                    </a:lnTo>
                    <a:lnTo>
                      <a:pt x="1609" y="22"/>
                    </a:lnTo>
                    <a:lnTo>
                      <a:pt x="1516" y="39"/>
                    </a:lnTo>
                    <a:lnTo>
                      <a:pt x="1425" y="60"/>
                    </a:lnTo>
                    <a:lnTo>
                      <a:pt x="1334" y="86"/>
                    </a:lnTo>
                    <a:lnTo>
                      <a:pt x="1246" y="116"/>
                    </a:lnTo>
                    <a:lnTo>
                      <a:pt x="1160" y="150"/>
                    </a:lnTo>
                    <a:lnTo>
                      <a:pt x="1076" y="187"/>
                    </a:lnTo>
                    <a:lnTo>
                      <a:pt x="994" y="230"/>
                    </a:lnTo>
                    <a:lnTo>
                      <a:pt x="915" y="276"/>
                    </a:lnTo>
                    <a:lnTo>
                      <a:pt x="838" y="325"/>
                    </a:lnTo>
                    <a:lnTo>
                      <a:pt x="763" y="378"/>
                    </a:lnTo>
                    <a:lnTo>
                      <a:pt x="692" y="435"/>
                    </a:lnTo>
                    <a:lnTo>
                      <a:pt x="623" y="495"/>
                    </a:lnTo>
                    <a:lnTo>
                      <a:pt x="557" y="557"/>
                    </a:lnTo>
                    <a:lnTo>
                      <a:pt x="494" y="623"/>
                    </a:lnTo>
                    <a:lnTo>
                      <a:pt x="434" y="692"/>
                    </a:lnTo>
                    <a:lnTo>
                      <a:pt x="378" y="764"/>
                    </a:lnTo>
                    <a:lnTo>
                      <a:pt x="325" y="838"/>
                    </a:lnTo>
                    <a:lnTo>
                      <a:pt x="276" y="916"/>
                    </a:lnTo>
                    <a:lnTo>
                      <a:pt x="230" y="995"/>
                    </a:lnTo>
                    <a:lnTo>
                      <a:pt x="188" y="1077"/>
                    </a:lnTo>
                    <a:lnTo>
                      <a:pt x="150" y="1161"/>
                    </a:lnTo>
                    <a:lnTo>
                      <a:pt x="116" y="1247"/>
                    </a:lnTo>
                    <a:lnTo>
                      <a:pt x="85" y="1335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10"/>
                    </a:lnTo>
                    <a:lnTo>
                      <a:pt x="10" y="1705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6"/>
                    </a:lnTo>
                    <a:lnTo>
                      <a:pt x="10" y="2092"/>
                    </a:lnTo>
                    <a:lnTo>
                      <a:pt x="22" y="2187"/>
                    </a:lnTo>
                    <a:lnTo>
                      <a:pt x="38" y="2279"/>
                    </a:lnTo>
                    <a:lnTo>
                      <a:pt x="60" y="2372"/>
                    </a:lnTo>
                    <a:lnTo>
                      <a:pt x="85" y="2461"/>
                    </a:lnTo>
                    <a:lnTo>
                      <a:pt x="116" y="2550"/>
                    </a:lnTo>
                    <a:lnTo>
                      <a:pt x="150" y="2636"/>
                    </a:lnTo>
                    <a:lnTo>
                      <a:pt x="188" y="2720"/>
                    </a:lnTo>
                    <a:lnTo>
                      <a:pt x="230" y="2801"/>
                    </a:lnTo>
                    <a:lnTo>
                      <a:pt x="276" y="2881"/>
                    </a:lnTo>
                    <a:lnTo>
                      <a:pt x="325" y="2958"/>
                    </a:lnTo>
                    <a:lnTo>
                      <a:pt x="378" y="3032"/>
                    </a:lnTo>
                    <a:lnTo>
                      <a:pt x="434" y="3104"/>
                    </a:lnTo>
                    <a:lnTo>
                      <a:pt x="494" y="3173"/>
                    </a:lnTo>
                    <a:lnTo>
                      <a:pt x="557" y="3238"/>
                    </a:lnTo>
                    <a:lnTo>
                      <a:pt x="623" y="3302"/>
                    </a:lnTo>
                    <a:lnTo>
                      <a:pt x="692" y="3362"/>
                    </a:lnTo>
                    <a:lnTo>
                      <a:pt x="763" y="3418"/>
                    </a:lnTo>
                    <a:lnTo>
                      <a:pt x="838" y="3471"/>
                    </a:lnTo>
                    <a:lnTo>
                      <a:pt x="915" y="3521"/>
                    </a:lnTo>
                    <a:lnTo>
                      <a:pt x="994" y="3566"/>
                    </a:lnTo>
                    <a:lnTo>
                      <a:pt x="1076" y="3608"/>
                    </a:lnTo>
                    <a:lnTo>
                      <a:pt x="1160" y="3646"/>
                    </a:lnTo>
                    <a:lnTo>
                      <a:pt x="1246" y="3680"/>
                    </a:lnTo>
                    <a:lnTo>
                      <a:pt x="1334" y="3710"/>
                    </a:lnTo>
                    <a:lnTo>
                      <a:pt x="1425" y="3735"/>
                    </a:lnTo>
                    <a:lnTo>
                      <a:pt x="1516" y="3757"/>
                    </a:lnTo>
                    <a:lnTo>
                      <a:pt x="1609" y="3774"/>
                    </a:lnTo>
                    <a:lnTo>
                      <a:pt x="1704" y="3786"/>
                    </a:lnTo>
                    <a:lnTo>
                      <a:pt x="1801" y="3793"/>
                    </a:lnTo>
                    <a:lnTo>
                      <a:pt x="1898" y="3795"/>
                    </a:lnTo>
                    <a:close/>
                  </a:path>
                </a:pathLst>
              </a:custGeom>
              <a:noFill/>
              <a:ln w="3175">
                <a:solidFill>
                  <a:srgbClr val="1F1A1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49" name="Freeform 277"/>
              <p:cNvSpPr>
                <a:spLocks/>
              </p:cNvSpPr>
              <p:nvPr/>
            </p:nvSpPr>
            <p:spPr bwMode="auto">
              <a:xfrm>
                <a:off x="2511" y="3245"/>
                <a:ext cx="759" cy="759"/>
              </a:xfrm>
              <a:custGeom>
                <a:avLst/>
                <a:gdLst/>
                <a:ahLst/>
                <a:cxnLst>
                  <a:cxn ang="0">
                    <a:pos x="2090" y="3786"/>
                  </a:cxn>
                  <a:cxn ang="0">
                    <a:pos x="2370" y="3735"/>
                  </a:cxn>
                  <a:cxn ang="0">
                    <a:pos x="2634" y="3646"/>
                  </a:cxn>
                  <a:cxn ang="0">
                    <a:pos x="2879" y="3520"/>
                  </a:cxn>
                  <a:cxn ang="0">
                    <a:pos x="3103" y="3362"/>
                  </a:cxn>
                  <a:cxn ang="0">
                    <a:pos x="3300" y="3173"/>
                  </a:cxn>
                  <a:cxn ang="0">
                    <a:pos x="3470" y="2957"/>
                  </a:cxn>
                  <a:cxn ang="0">
                    <a:pos x="3606" y="2720"/>
                  </a:cxn>
                  <a:cxn ang="0">
                    <a:pos x="3708" y="2461"/>
                  </a:cxn>
                  <a:cxn ang="0">
                    <a:pos x="3772" y="2187"/>
                  </a:cxn>
                  <a:cxn ang="0">
                    <a:pos x="3795" y="1898"/>
                  </a:cxn>
                  <a:cxn ang="0">
                    <a:pos x="3772" y="1610"/>
                  </a:cxn>
                  <a:cxn ang="0">
                    <a:pos x="3708" y="1334"/>
                  </a:cxn>
                  <a:cxn ang="0">
                    <a:pos x="3606" y="1076"/>
                  </a:cxn>
                  <a:cxn ang="0">
                    <a:pos x="3470" y="838"/>
                  </a:cxn>
                  <a:cxn ang="0">
                    <a:pos x="3300" y="624"/>
                  </a:cxn>
                  <a:cxn ang="0">
                    <a:pos x="3103" y="435"/>
                  </a:cxn>
                  <a:cxn ang="0">
                    <a:pos x="2879" y="276"/>
                  </a:cxn>
                  <a:cxn ang="0">
                    <a:pos x="2634" y="149"/>
                  </a:cxn>
                  <a:cxn ang="0">
                    <a:pos x="2370" y="60"/>
                  </a:cxn>
                  <a:cxn ang="0">
                    <a:pos x="2090" y="10"/>
                  </a:cxn>
                  <a:cxn ang="0">
                    <a:pos x="1799" y="2"/>
                  </a:cxn>
                  <a:cxn ang="0">
                    <a:pos x="1516" y="39"/>
                  </a:cxn>
                  <a:cxn ang="0">
                    <a:pos x="1245" y="116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7" y="764"/>
                  </a:cxn>
                  <a:cxn ang="0">
                    <a:pos x="229" y="994"/>
                  </a:cxn>
                  <a:cxn ang="0">
                    <a:pos x="115" y="1247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2"/>
                  </a:cxn>
                  <a:cxn ang="0">
                    <a:pos x="60" y="2371"/>
                  </a:cxn>
                  <a:cxn ang="0">
                    <a:pos x="149" y="2636"/>
                  </a:cxn>
                  <a:cxn ang="0">
                    <a:pos x="274" y="2881"/>
                  </a:cxn>
                  <a:cxn ang="0">
                    <a:pos x="434" y="3103"/>
                  </a:cxn>
                  <a:cxn ang="0">
                    <a:pos x="622" y="3302"/>
                  </a:cxn>
                  <a:cxn ang="0">
                    <a:pos x="837" y="3471"/>
                  </a:cxn>
                  <a:cxn ang="0">
                    <a:pos x="1075" y="3608"/>
                  </a:cxn>
                  <a:cxn ang="0">
                    <a:pos x="1334" y="3710"/>
                  </a:cxn>
                  <a:cxn ang="0">
                    <a:pos x="1608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4" y="3793"/>
                    </a:lnTo>
                    <a:lnTo>
                      <a:pt x="2090" y="3786"/>
                    </a:lnTo>
                    <a:lnTo>
                      <a:pt x="2185" y="3774"/>
                    </a:lnTo>
                    <a:lnTo>
                      <a:pt x="2279" y="3757"/>
                    </a:lnTo>
                    <a:lnTo>
                      <a:pt x="2370" y="3735"/>
                    </a:lnTo>
                    <a:lnTo>
                      <a:pt x="2460" y="3710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8" y="3608"/>
                    </a:lnTo>
                    <a:lnTo>
                      <a:pt x="2800" y="3565"/>
                    </a:lnTo>
                    <a:lnTo>
                      <a:pt x="2879" y="3520"/>
                    </a:lnTo>
                    <a:lnTo>
                      <a:pt x="2956" y="3471"/>
                    </a:lnTo>
                    <a:lnTo>
                      <a:pt x="3031" y="3417"/>
                    </a:lnTo>
                    <a:lnTo>
                      <a:pt x="3103" y="3362"/>
                    </a:lnTo>
                    <a:lnTo>
                      <a:pt x="3171" y="3302"/>
                    </a:lnTo>
                    <a:lnTo>
                      <a:pt x="3238" y="3238"/>
                    </a:lnTo>
                    <a:lnTo>
                      <a:pt x="3300" y="3173"/>
                    </a:lnTo>
                    <a:lnTo>
                      <a:pt x="3360" y="3103"/>
                    </a:lnTo>
                    <a:lnTo>
                      <a:pt x="3416" y="3032"/>
                    </a:lnTo>
                    <a:lnTo>
                      <a:pt x="3470" y="2957"/>
                    </a:lnTo>
                    <a:lnTo>
                      <a:pt x="3519" y="2881"/>
                    </a:lnTo>
                    <a:lnTo>
                      <a:pt x="3565" y="2801"/>
                    </a:lnTo>
                    <a:lnTo>
                      <a:pt x="3606" y="2720"/>
                    </a:lnTo>
                    <a:lnTo>
                      <a:pt x="3644" y="2636"/>
                    </a:lnTo>
                    <a:lnTo>
                      <a:pt x="3679" y="2550"/>
                    </a:lnTo>
                    <a:lnTo>
                      <a:pt x="3708" y="2461"/>
                    </a:lnTo>
                    <a:lnTo>
                      <a:pt x="3735" y="2371"/>
                    </a:lnTo>
                    <a:lnTo>
                      <a:pt x="3755" y="2279"/>
                    </a:lnTo>
                    <a:lnTo>
                      <a:pt x="3772" y="2187"/>
                    </a:lnTo>
                    <a:lnTo>
                      <a:pt x="3785" y="2092"/>
                    </a:lnTo>
                    <a:lnTo>
                      <a:pt x="3791" y="1995"/>
                    </a:lnTo>
                    <a:lnTo>
                      <a:pt x="3795" y="1898"/>
                    </a:lnTo>
                    <a:lnTo>
                      <a:pt x="3791" y="1801"/>
                    </a:lnTo>
                    <a:lnTo>
                      <a:pt x="3785" y="1705"/>
                    </a:lnTo>
                    <a:lnTo>
                      <a:pt x="3772" y="1610"/>
                    </a:lnTo>
                    <a:lnTo>
                      <a:pt x="3755" y="1516"/>
                    </a:lnTo>
                    <a:lnTo>
                      <a:pt x="3735" y="1425"/>
                    </a:lnTo>
                    <a:lnTo>
                      <a:pt x="3708" y="1334"/>
                    </a:lnTo>
                    <a:lnTo>
                      <a:pt x="3679" y="1247"/>
                    </a:lnTo>
                    <a:lnTo>
                      <a:pt x="3644" y="1161"/>
                    </a:lnTo>
                    <a:lnTo>
                      <a:pt x="3606" y="1076"/>
                    </a:lnTo>
                    <a:lnTo>
                      <a:pt x="3565" y="994"/>
                    </a:lnTo>
                    <a:lnTo>
                      <a:pt x="3519" y="916"/>
                    </a:lnTo>
                    <a:lnTo>
                      <a:pt x="3470" y="838"/>
                    </a:lnTo>
                    <a:lnTo>
                      <a:pt x="3416" y="764"/>
                    </a:lnTo>
                    <a:lnTo>
                      <a:pt x="3360" y="692"/>
                    </a:lnTo>
                    <a:lnTo>
                      <a:pt x="3300" y="624"/>
                    </a:lnTo>
                    <a:lnTo>
                      <a:pt x="3238" y="557"/>
                    </a:lnTo>
                    <a:lnTo>
                      <a:pt x="3171" y="494"/>
                    </a:lnTo>
                    <a:lnTo>
                      <a:pt x="3103" y="435"/>
                    </a:lnTo>
                    <a:lnTo>
                      <a:pt x="3031" y="378"/>
                    </a:lnTo>
                    <a:lnTo>
                      <a:pt x="2956" y="325"/>
                    </a:lnTo>
                    <a:lnTo>
                      <a:pt x="2879" y="276"/>
                    </a:lnTo>
                    <a:lnTo>
                      <a:pt x="2800" y="230"/>
                    </a:lnTo>
                    <a:lnTo>
                      <a:pt x="2718" y="188"/>
                    </a:lnTo>
                    <a:lnTo>
                      <a:pt x="2634" y="149"/>
                    </a:lnTo>
                    <a:lnTo>
                      <a:pt x="2548" y="116"/>
                    </a:lnTo>
                    <a:lnTo>
                      <a:pt x="2460" y="86"/>
                    </a:lnTo>
                    <a:lnTo>
                      <a:pt x="2370" y="60"/>
                    </a:lnTo>
                    <a:lnTo>
                      <a:pt x="2279" y="39"/>
                    </a:lnTo>
                    <a:lnTo>
                      <a:pt x="2185" y="22"/>
                    </a:lnTo>
                    <a:lnTo>
                      <a:pt x="2090" y="10"/>
                    </a:lnTo>
                    <a:lnTo>
                      <a:pt x="1994" y="2"/>
                    </a:lnTo>
                    <a:lnTo>
                      <a:pt x="1897" y="0"/>
                    </a:lnTo>
                    <a:lnTo>
                      <a:pt x="1799" y="2"/>
                    </a:lnTo>
                    <a:lnTo>
                      <a:pt x="1703" y="10"/>
                    </a:lnTo>
                    <a:lnTo>
                      <a:pt x="1608" y="22"/>
                    </a:lnTo>
                    <a:lnTo>
                      <a:pt x="1516" y="39"/>
                    </a:lnTo>
                    <a:lnTo>
                      <a:pt x="1423" y="60"/>
                    </a:lnTo>
                    <a:lnTo>
                      <a:pt x="1334" y="86"/>
                    </a:lnTo>
                    <a:lnTo>
                      <a:pt x="1245" y="116"/>
                    </a:lnTo>
                    <a:lnTo>
                      <a:pt x="1159" y="149"/>
                    </a:lnTo>
                    <a:lnTo>
                      <a:pt x="1075" y="188"/>
                    </a:lnTo>
                    <a:lnTo>
                      <a:pt x="994" y="230"/>
                    </a:lnTo>
                    <a:lnTo>
                      <a:pt x="914" y="276"/>
                    </a:lnTo>
                    <a:lnTo>
                      <a:pt x="837" y="325"/>
                    </a:lnTo>
                    <a:lnTo>
                      <a:pt x="763" y="378"/>
                    </a:lnTo>
                    <a:lnTo>
                      <a:pt x="691" y="435"/>
                    </a:lnTo>
                    <a:lnTo>
                      <a:pt x="622" y="494"/>
                    </a:lnTo>
                    <a:lnTo>
                      <a:pt x="557" y="557"/>
                    </a:lnTo>
                    <a:lnTo>
                      <a:pt x="494" y="624"/>
                    </a:lnTo>
                    <a:lnTo>
                      <a:pt x="434" y="692"/>
                    </a:lnTo>
                    <a:lnTo>
                      <a:pt x="377" y="764"/>
                    </a:lnTo>
                    <a:lnTo>
                      <a:pt x="325" y="838"/>
                    </a:lnTo>
                    <a:lnTo>
                      <a:pt x="274" y="916"/>
                    </a:lnTo>
                    <a:lnTo>
                      <a:pt x="229" y="994"/>
                    </a:lnTo>
                    <a:lnTo>
                      <a:pt x="187" y="1076"/>
                    </a:lnTo>
                    <a:lnTo>
                      <a:pt x="149" y="1161"/>
                    </a:lnTo>
                    <a:lnTo>
                      <a:pt x="115" y="1247"/>
                    </a:lnTo>
                    <a:lnTo>
                      <a:pt x="85" y="1334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10"/>
                    </a:lnTo>
                    <a:lnTo>
                      <a:pt x="10" y="1705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5"/>
                    </a:lnTo>
                    <a:lnTo>
                      <a:pt x="10" y="2092"/>
                    </a:lnTo>
                    <a:lnTo>
                      <a:pt x="22" y="2187"/>
                    </a:lnTo>
                    <a:lnTo>
                      <a:pt x="38" y="2279"/>
                    </a:lnTo>
                    <a:lnTo>
                      <a:pt x="60" y="2371"/>
                    </a:lnTo>
                    <a:lnTo>
                      <a:pt x="85" y="2461"/>
                    </a:lnTo>
                    <a:lnTo>
                      <a:pt x="115" y="2550"/>
                    </a:lnTo>
                    <a:lnTo>
                      <a:pt x="149" y="2636"/>
                    </a:lnTo>
                    <a:lnTo>
                      <a:pt x="187" y="2720"/>
                    </a:lnTo>
                    <a:lnTo>
                      <a:pt x="229" y="2801"/>
                    </a:lnTo>
                    <a:lnTo>
                      <a:pt x="274" y="2881"/>
                    </a:lnTo>
                    <a:lnTo>
                      <a:pt x="325" y="2957"/>
                    </a:lnTo>
                    <a:lnTo>
                      <a:pt x="377" y="3032"/>
                    </a:lnTo>
                    <a:lnTo>
                      <a:pt x="434" y="3103"/>
                    </a:lnTo>
                    <a:lnTo>
                      <a:pt x="494" y="3173"/>
                    </a:lnTo>
                    <a:lnTo>
                      <a:pt x="557" y="3238"/>
                    </a:lnTo>
                    <a:lnTo>
                      <a:pt x="622" y="3302"/>
                    </a:lnTo>
                    <a:lnTo>
                      <a:pt x="691" y="3362"/>
                    </a:lnTo>
                    <a:lnTo>
                      <a:pt x="763" y="3417"/>
                    </a:lnTo>
                    <a:lnTo>
                      <a:pt x="837" y="3471"/>
                    </a:lnTo>
                    <a:lnTo>
                      <a:pt x="914" y="3520"/>
                    </a:lnTo>
                    <a:lnTo>
                      <a:pt x="994" y="3565"/>
                    </a:lnTo>
                    <a:lnTo>
                      <a:pt x="1075" y="3608"/>
                    </a:lnTo>
                    <a:lnTo>
                      <a:pt x="1159" y="3646"/>
                    </a:lnTo>
                    <a:lnTo>
                      <a:pt x="1245" y="3680"/>
                    </a:lnTo>
                    <a:lnTo>
                      <a:pt x="1334" y="3710"/>
                    </a:lnTo>
                    <a:lnTo>
                      <a:pt x="1423" y="3735"/>
                    </a:lnTo>
                    <a:lnTo>
                      <a:pt x="1516" y="3757"/>
                    </a:lnTo>
                    <a:lnTo>
                      <a:pt x="1608" y="3774"/>
                    </a:lnTo>
                    <a:lnTo>
                      <a:pt x="1703" y="3786"/>
                    </a:lnTo>
                    <a:lnTo>
                      <a:pt x="1799" y="3793"/>
                    </a:lnTo>
                    <a:lnTo>
                      <a:pt x="1897" y="379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0" name="Freeform 278"/>
              <p:cNvSpPr>
                <a:spLocks/>
              </p:cNvSpPr>
              <p:nvPr/>
            </p:nvSpPr>
            <p:spPr bwMode="auto">
              <a:xfrm>
                <a:off x="1454" y="3245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5"/>
                  </a:cxn>
                  <a:cxn ang="0">
                    <a:pos x="2634" y="3646"/>
                  </a:cxn>
                  <a:cxn ang="0">
                    <a:pos x="2880" y="3520"/>
                  </a:cxn>
                  <a:cxn ang="0">
                    <a:pos x="3103" y="3362"/>
                  </a:cxn>
                  <a:cxn ang="0">
                    <a:pos x="3301" y="3173"/>
                  </a:cxn>
                  <a:cxn ang="0">
                    <a:pos x="3470" y="2957"/>
                  </a:cxn>
                  <a:cxn ang="0">
                    <a:pos x="3608" y="2720"/>
                  </a:cxn>
                  <a:cxn ang="0">
                    <a:pos x="3709" y="2461"/>
                  </a:cxn>
                  <a:cxn ang="0">
                    <a:pos x="3773" y="2187"/>
                  </a:cxn>
                  <a:cxn ang="0">
                    <a:pos x="3795" y="1898"/>
                  </a:cxn>
                  <a:cxn ang="0">
                    <a:pos x="3773" y="1610"/>
                  </a:cxn>
                  <a:cxn ang="0">
                    <a:pos x="3709" y="1334"/>
                  </a:cxn>
                  <a:cxn ang="0">
                    <a:pos x="3608" y="1076"/>
                  </a:cxn>
                  <a:cxn ang="0">
                    <a:pos x="3470" y="838"/>
                  </a:cxn>
                  <a:cxn ang="0">
                    <a:pos x="3301" y="624"/>
                  </a:cxn>
                  <a:cxn ang="0">
                    <a:pos x="3103" y="435"/>
                  </a:cxn>
                  <a:cxn ang="0">
                    <a:pos x="2880" y="276"/>
                  </a:cxn>
                  <a:cxn ang="0">
                    <a:pos x="2634" y="149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1" y="2"/>
                  </a:cxn>
                  <a:cxn ang="0">
                    <a:pos x="1516" y="39"/>
                  </a:cxn>
                  <a:cxn ang="0">
                    <a:pos x="1246" y="116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8" y="764"/>
                  </a:cxn>
                  <a:cxn ang="0">
                    <a:pos x="230" y="994"/>
                  </a:cxn>
                  <a:cxn ang="0">
                    <a:pos x="116" y="1247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2"/>
                  </a:cxn>
                  <a:cxn ang="0">
                    <a:pos x="60" y="2371"/>
                  </a:cxn>
                  <a:cxn ang="0">
                    <a:pos x="150" y="2636"/>
                  </a:cxn>
                  <a:cxn ang="0">
                    <a:pos x="276" y="2881"/>
                  </a:cxn>
                  <a:cxn ang="0">
                    <a:pos x="434" y="3103"/>
                  </a:cxn>
                  <a:cxn ang="0">
                    <a:pos x="623" y="3302"/>
                  </a:cxn>
                  <a:cxn ang="0">
                    <a:pos x="838" y="3471"/>
                  </a:cxn>
                  <a:cxn ang="0">
                    <a:pos x="1076" y="3608"/>
                  </a:cxn>
                  <a:cxn ang="0">
                    <a:pos x="1334" y="3710"/>
                  </a:cxn>
                  <a:cxn ang="0">
                    <a:pos x="1609" y="3774"/>
                  </a:cxn>
                  <a:cxn ang="0">
                    <a:pos x="1898" y="3795"/>
                  </a:cxn>
                </a:cxnLst>
                <a:rect l="0" t="0" r="r" b="b"/>
                <a:pathLst>
                  <a:path w="3795" h="3795">
                    <a:moveTo>
                      <a:pt x="1898" y="3795"/>
                    </a:moveTo>
                    <a:lnTo>
                      <a:pt x="1995" y="3793"/>
                    </a:lnTo>
                    <a:lnTo>
                      <a:pt x="2091" y="3786"/>
                    </a:lnTo>
                    <a:lnTo>
                      <a:pt x="2185" y="3774"/>
                    </a:lnTo>
                    <a:lnTo>
                      <a:pt x="2279" y="3757"/>
                    </a:lnTo>
                    <a:lnTo>
                      <a:pt x="2371" y="3735"/>
                    </a:lnTo>
                    <a:lnTo>
                      <a:pt x="2461" y="3710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9" y="3608"/>
                    </a:lnTo>
                    <a:lnTo>
                      <a:pt x="2801" y="3565"/>
                    </a:lnTo>
                    <a:lnTo>
                      <a:pt x="2880" y="3520"/>
                    </a:lnTo>
                    <a:lnTo>
                      <a:pt x="2957" y="3471"/>
                    </a:lnTo>
                    <a:lnTo>
                      <a:pt x="3031" y="3417"/>
                    </a:lnTo>
                    <a:lnTo>
                      <a:pt x="3103" y="3362"/>
                    </a:lnTo>
                    <a:lnTo>
                      <a:pt x="3172" y="3302"/>
                    </a:lnTo>
                    <a:lnTo>
                      <a:pt x="3238" y="3238"/>
                    </a:lnTo>
                    <a:lnTo>
                      <a:pt x="3301" y="3173"/>
                    </a:lnTo>
                    <a:lnTo>
                      <a:pt x="3360" y="3103"/>
                    </a:lnTo>
                    <a:lnTo>
                      <a:pt x="3417" y="3032"/>
                    </a:lnTo>
                    <a:lnTo>
                      <a:pt x="3470" y="2957"/>
                    </a:lnTo>
                    <a:lnTo>
                      <a:pt x="3519" y="2881"/>
                    </a:lnTo>
                    <a:lnTo>
                      <a:pt x="3565" y="2801"/>
                    </a:lnTo>
                    <a:lnTo>
                      <a:pt x="3608" y="2720"/>
                    </a:lnTo>
                    <a:lnTo>
                      <a:pt x="3646" y="2636"/>
                    </a:lnTo>
                    <a:lnTo>
                      <a:pt x="3679" y="2550"/>
                    </a:lnTo>
                    <a:lnTo>
                      <a:pt x="3709" y="2461"/>
                    </a:lnTo>
                    <a:lnTo>
                      <a:pt x="3735" y="2371"/>
                    </a:lnTo>
                    <a:lnTo>
                      <a:pt x="3756" y="2279"/>
                    </a:lnTo>
                    <a:lnTo>
                      <a:pt x="3773" y="2187"/>
                    </a:lnTo>
                    <a:lnTo>
                      <a:pt x="3785" y="2092"/>
                    </a:lnTo>
                    <a:lnTo>
                      <a:pt x="3793" y="1995"/>
                    </a:lnTo>
                    <a:lnTo>
                      <a:pt x="3795" y="1898"/>
                    </a:lnTo>
                    <a:lnTo>
                      <a:pt x="3793" y="1801"/>
                    </a:lnTo>
                    <a:lnTo>
                      <a:pt x="3785" y="1705"/>
                    </a:lnTo>
                    <a:lnTo>
                      <a:pt x="3773" y="1610"/>
                    </a:lnTo>
                    <a:lnTo>
                      <a:pt x="3756" y="1516"/>
                    </a:lnTo>
                    <a:lnTo>
                      <a:pt x="3735" y="1425"/>
                    </a:lnTo>
                    <a:lnTo>
                      <a:pt x="3709" y="1334"/>
                    </a:lnTo>
                    <a:lnTo>
                      <a:pt x="3679" y="1247"/>
                    </a:lnTo>
                    <a:lnTo>
                      <a:pt x="3646" y="1161"/>
                    </a:lnTo>
                    <a:lnTo>
                      <a:pt x="3608" y="1076"/>
                    </a:lnTo>
                    <a:lnTo>
                      <a:pt x="3565" y="994"/>
                    </a:lnTo>
                    <a:lnTo>
                      <a:pt x="3519" y="916"/>
                    </a:lnTo>
                    <a:lnTo>
                      <a:pt x="3470" y="838"/>
                    </a:lnTo>
                    <a:lnTo>
                      <a:pt x="3417" y="764"/>
                    </a:lnTo>
                    <a:lnTo>
                      <a:pt x="3360" y="692"/>
                    </a:lnTo>
                    <a:lnTo>
                      <a:pt x="3301" y="624"/>
                    </a:lnTo>
                    <a:lnTo>
                      <a:pt x="3238" y="557"/>
                    </a:lnTo>
                    <a:lnTo>
                      <a:pt x="3172" y="494"/>
                    </a:lnTo>
                    <a:lnTo>
                      <a:pt x="3103" y="435"/>
                    </a:lnTo>
                    <a:lnTo>
                      <a:pt x="3031" y="378"/>
                    </a:lnTo>
                    <a:lnTo>
                      <a:pt x="2957" y="325"/>
                    </a:lnTo>
                    <a:lnTo>
                      <a:pt x="2880" y="276"/>
                    </a:lnTo>
                    <a:lnTo>
                      <a:pt x="2801" y="230"/>
                    </a:lnTo>
                    <a:lnTo>
                      <a:pt x="2719" y="188"/>
                    </a:lnTo>
                    <a:lnTo>
                      <a:pt x="2634" y="149"/>
                    </a:lnTo>
                    <a:lnTo>
                      <a:pt x="2548" y="116"/>
                    </a:lnTo>
                    <a:lnTo>
                      <a:pt x="2461" y="86"/>
                    </a:lnTo>
                    <a:lnTo>
                      <a:pt x="2371" y="60"/>
                    </a:lnTo>
                    <a:lnTo>
                      <a:pt x="2279" y="39"/>
                    </a:lnTo>
                    <a:lnTo>
                      <a:pt x="2185" y="22"/>
                    </a:lnTo>
                    <a:lnTo>
                      <a:pt x="2091" y="10"/>
                    </a:lnTo>
                    <a:lnTo>
                      <a:pt x="1995" y="2"/>
                    </a:lnTo>
                    <a:lnTo>
                      <a:pt x="1898" y="0"/>
                    </a:lnTo>
                    <a:lnTo>
                      <a:pt x="1801" y="2"/>
                    </a:lnTo>
                    <a:lnTo>
                      <a:pt x="1704" y="10"/>
                    </a:lnTo>
                    <a:lnTo>
                      <a:pt x="1609" y="22"/>
                    </a:lnTo>
                    <a:lnTo>
                      <a:pt x="1516" y="39"/>
                    </a:lnTo>
                    <a:lnTo>
                      <a:pt x="1425" y="60"/>
                    </a:lnTo>
                    <a:lnTo>
                      <a:pt x="1334" y="86"/>
                    </a:lnTo>
                    <a:lnTo>
                      <a:pt x="1246" y="116"/>
                    </a:lnTo>
                    <a:lnTo>
                      <a:pt x="1160" y="149"/>
                    </a:lnTo>
                    <a:lnTo>
                      <a:pt x="1076" y="188"/>
                    </a:lnTo>
                    <a:lnTo>
                      <a:pt x="994" y="230"/>
                    </a:lnTo>
                    <a:lnTo>
                      <a:pt x="915" y="276"/>
                    </a:lnTo>
                    <a:lnTo>
                      <a:pt x="838" y="325"/>
                    </a:lnTo>
                    <a:lnTo>
                      <a:pt x="763" y="378"/>
                    </a:lnTo>
                    <a:lnTo>
                      <a:pt x="692" y="435"/>
                    </a:lnTo>
                    <a:lnTo>
                      <a:pt x="623" y="494"/>
                    </a:lnTo>
                    <a:lnTo>
                      <a:pt x="557" y="557"/>
                    </a:lnTo>
                    <a:lnTo>
                      <a:pt x="494" y="624"/>
                    </a:lnTo>
                    <a:lnTo>
                      <a:pt x="434" y="692"/>
                    </a:lnTo>
                    <a:lnTo>
                      <a:pt x="378" y="764"/>
                    </a:lnTo>
                    <a:lnTo>
                      <a:pt x="325" y="838"/>
                    </a:lnTo>
                    <a:lnTo>
                      <a:pt x="276" y="916"/>
                    </a:lnTo>
                    <a:lnTo>
                      <a:pt x="230" y="994"/>
                    </a:lnTo>
                    <a:lnTo>
                      <a:pt x="188" y="1076"/>
                    </a:lnTo>
                    <a:lnTo>
                      <a:pt x="150" y="1161"/>
                    </a:lnTo>
                    <a:lnTo>
                      <a:pt x="116" y="1247"/>
                    </a:lnTo>
                    <a:lnTo>
                      <a:pt x="85" y="1334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10"/>
                    </a:lnTo>
                    <a:lnTo>
                      <a:pt x="10" y="1705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5"/>
                    </a:lnTo>
                    <a:lnTo>
                      <a:pt x="10" y="2092"/>
                    </a:lnTo>
                    <a:lnTo>
                      <a:pt x="22" y="2187"/>
                    </a:lnTo>
                    <a:lnTo>
                      <a:pt x="38" y="2279"/>
                    </a:lnTo>
                    <a:lnTo>
                      <a:pt x="60" y="2371"/>
                    </a:lnTo>
                    <a:lnTo>
                      <a:pt x="85" y="2461"/>
                    </a:lnTo>
                    <a:lnTo>
                      <a:pt x="116" y="2550"/>
                    </a:lnTo>
                    <a:lnTo>
                      <a:pt x="150" y="2636"/>
                    </a:lnTo>
                    <a:lnTo>
                      <a:pt x="188" y="2720"/>
                    </a:lnTo>
                    <a:lnTo>
                      <a:pt x="230" y="2801"/>
                    </a:lnTo>
                    <a:lnTo>
                      <a:pt x="276" y="2881"/>
                    </a:lnTo>
                    <a:lnTo>
                      <a:pt x="325" y="2957"/>
                    </a:lnTo>
                    <a:lnTo>
                      <a:pt x="378" y="3032"/>
                    </a:lnTo>
                    <a:lnTo>
                      <a:pt x="434" y="3103"/>
                    </a:lnTo>
                    <a:lnTo>
                      <a:pt x="494" y="3173"/>
                    </a:lnTo>
                    <a:lnTo>
                      <a:pt x="557" y="3238"/>
                    </a:lnTo>
                    <a:lnTo>
                      <a:pt x="623" y="3302"/>
                    </a:lnTo>
                    <a:lnTo>
                      <a:pt x="692" y="3362"/>
                    </a:lnTo>
                    <a:lnTo>
                      <a:pt x="763" y="3417"/>
                    </a:lnTo>
                    <a:lnTo>
                      <a:pt x="838" y="3471"/>
                    </a:lnTo>
                    <a:lnTo>
                      <a:pt x="915" y="3520"/>
                    </a:lnTo>
                    <a:lnTo>
                      <a:pt x="994" y="3565"/>
                    </a:lnTo>
                    <a:lnTo>
                      <a:pt x="1076" y="3608"/>
                    </a:lnTo>
                    <a:lnTo>
                      <a:pt x="1160" y="3646"/>
                    </a:lnTo>
                    <a:lnTo>
                      <a:pt x="1246" y="3680"/>
                    </a:lnTo>
                    <a:lnTo>
                      <a:pt x="1334" y="3710"/>
                    </a:lnTo>
                    <a:lnTo>
                      <a:pt x="1425" y="3735"/>
                    </a:lnTo>
                    <a:lnTo>
                      <a:pt x="1516" y="3757"/>
                    </a:lnTo>
                    <a:lnTo>
                      <a:pt x="1609" y="3774"/>
                    </a:lnTo>
                    <a:lnTo>
                      <a:pt x="1704" y="3786"/>
                    </a:lnTo>
                    <a:lnTo>
                      <a:pt x="1801" y="3793"/>
                    </a:lnTo>
                    <a:lnTo>
                      <a:pt x="1898" y="3795"/>
                    </a:lnTo>
                  </a:path>
                </a:pathLst>
              </a:custGeom>
              <a:noFill/>
              <a:ln w="3175">
                <a:solidFill>
                  <a:srgbClr val="1F1A1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1" name="Freeform 279"/>
              <p:cNvSpPr>
                <a:spLocks/>
              </p:cNvSpPr>
              <p:nvPr/>
            </p:nvSpPr>
            <p:spPr bwMode="auto">
              <a:xfrm>
                <a:off x="3586" y="3245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5"/>
                  </a:cxn>
                  <a:cxn ang="0">
                    <a:pos x="2635" y="3646"/>
                  </a:cxn>
                  <a:cxn ang="0">
                    <a:pos x="2880" y="3520"/>
                  </a:cxn>
                  <a:cxn ang="0">
                    <a:pos x="3104" y="3362"/>
                  </a:cxn>
                  <a:cxn ang="0">
                    <a:pos x="3301" y="3173"/>
                  </a:cxn>
                  <a:cxn ang="0">
                    <a:pos x="3470" y="2957"/>
                  </a:cxn>
                  <a:cxn ang="0">
                    <a:pos x="3607" y="2720"/>
                  </a:cxn>
                  <a:cxn ang="0">
                    <a:pos x="3710" y="2461"/>
                  </a:cxn>
                  <a:cxn ang="0">
                    <a:pos x="3773" y="2187"/>
                  </a:cxn>
                  <a:cxn ang="0">
                    <a:pos x="3795" y="1898"/>
                  </a:cxn>
                  <a:cxn ang="0">
                    <a:pos x="3773" y="1610"/>
                  </a:cxn>
                  <a:cxn ang="0">
                    <a:pos x="3710" y="1334"/>
                  </a:cxn>
                  <a:cxn ang="0">
                    <a:pos x="3607" y="1076"/>
                  </a:cxn>
                  <a:cxn ang="0">
                    <a:pos x="3470" y="838"/>
                  </a:cxn>
                  <a:cxn ang="0">
                    <a:pos x="3301" y="624"/>
                  </a:cxn>
                  <a:cxn ang="0">
                    <a:pos x="3104" y="435"/>
                  </a:cxn>
                  <a:cxn ang="0">
                    <a:pos x="2880" y="276"/>
                  </a:cxn>
                  <a:cxn ang="0">
                    <a:pos x="2635" y="149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0" y="2"/>
                  </a:cxn>
                  <a:cxn ang="0">
                    <a:pos x="1516" y="39"/>
                  </a:cxn>
                  <a:cxn ang="0">
                    <a:pos x="1247" y="116"/>
                  </a:cxn>
                  <a:cxn ang="0">
                    <a:pos x="995" y="230"/>
                  </a:cxn>
                  <a:cxn ang="0">
                    <a:pos x="764" y="378"/>
                  </a:cxn>
                  <a:cxn ang="0">
                    <a:pos x="557" y="557"/>
                  </a:cxn>
                  <a:cxn ang="0">
                    <a:pos x="378" y="764"/>
                  </a:cxn>
                  <a:cxn ang="0">
                    <a:pos x="230" y="994"/>
                  </a:cxn>
                  <a:cxn ang="0">
                    <a:pos x="115" y="1247"/>
                  </a:cxn>
                  <a:cxn ang="0">
                    <a:pos x="39" y="1516"/>
                  </a:cxn>
                  <a:cxn ang="0">
                    <a:pos x="3" y="1801"/>
                  </a:cxn>
                  <a:cxn ang="0">
                    <a:pos x="10" y="2092"/>
                  </a:cxn>
                  <a:cxn ang="0">
                    <a:pos x="60" y="2371"/>
                  </a:cxn>
                  <a:cxn ang="0">
                    <a:pos x="150" y="2636"/>
                  </a:cxn>
                  <a:cxn ang="0">
                    <a:pos x="276" y="2881"/>
                  </a:cxn>
                  <a:cxn ang="0">
                    <a:pos x="435" y="3103"/>
                  </a:cxn>
                  <a:cxn ang="0">
                    <a:pos x="623" y="3302"/>
                  </a:cxn>
                  <a:cxn ang="0">
                    <a:pos x="838" y="3471"/>
                  </a:cxn>
                  <a:cxn ang="0">
                    <a:pos x="1077" y="3608"/>
                  </a:cxn>
                  <a:cxn ang="0">
                    <a:pos x="1335" y="3710"/>
                  </a:cxn>
                  <a:cxn ang="0">
                    <a:pos x="1610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5" y="3793"/>
                    </a:lnTo>
                    <a:lnTo>
                      <a:pt x="2091" y="3786"/>
                    </a:lnTo>
                    <a:lnTo>
                      <a:pt x="2186" y="3774"/>
                    </a:lnTo>
                    <a:lnTo>
                      <a:pt x="2279" y="3757"/>
                    </a:lnTo>
                    <a:lnTo>
                      <a:pt x="2371" y="3735"/>
                    </a:lnTo>
                    <a:lnTo>
                      <a:pt x="2461" y="3710"/>
                    </a:lnTo>
                    <a:lnTo>
                      <a:pt x="2549" y="3680"/>
                    </a:lnTo>
                    <a:lnTo>
                      <a:pt x="2635" y="3646"/>
                    </a:lnTo>
                    <a:lnTo>
                      <a:pt x="2719" y="3608"/>
                    </a:lnTo>
                    <a:lnTo>
                      <a:pt x="2801" y="3565"/>
                    </a:lnTo>
                    <a:lnTo>
                      <a:pt x="2880" y="3520"/>
                    </a:lnTo>
                    <a:lnTo>
                      <a:pt x="2958" y="3471"/>
                    </a:lnTo>
                    <a:lnTo>
                      <a:pt x="3032" y="3417"/>
                    </a:lnTo>
                    <a:lnTo>
                      <a:pt x="3104" y="3362"/>
                    </a:lnTo>
                    <a:lnTo>
                      <a:pt x="3172" y="3302"/>
                    </a:lnTo>
                    <a:lnTo>
                      <a:pt x="3238" y="3238"/>
                    </a:lnTo>
                    <a:lnTo>
                      <a:pt x="3301" y="3173"/>
                    </a:lnTo>
                    <a:lnTo>
                      <a:pt x="3361" y="3103"/>
                    </a:lnTo>
                    <a:lnTo>
                      <a:pt x="3418" y="3032"/>
                    </a:lnTo>
                    <a:lnTo>
                      <a:pt x="3470" y="2957"/>
                    </a:lnTo>
                    <a:lnTo>
                      <a:pt x="3520" y="2881"/>
                    </a:lnTo>
                    <a:lnTo>
                      <a:pt x="3566" y="2801"/>
                    </a:lnTo>
                    <a:lnTo>
                      <a:pt x="3607" y="2720"/>
                    </a:lnTo>
                    <a:lnTo>
                      <a:pt x="3645" y="2636"/>
                    </a:lnTo>
                    <a:lnTo>
                      <a:pt x="3679" y="2550"/>
                    </a:lnTo>
                    <a:lnTo>
                      <a:pt x="3710" y="2461"/>
                    </a:lnTo>
                    <a:lnTo>
                      <a:pt x="3735" y="2371"/>
                    </a:lnTo>
                    <a:lnTo>
                      <a:pt x="3756" y="2279"/>
                    </a:lnTo>
                    <a:lnTo>
                      <a:pt x="3773" y="2187"/>
                    </a:lnTo>
                    <a:lnTo>
                      <a:pt x="3785" y="2092"/>
                    </a:lnTo>
                    <a:lnTo>
                      <a:pt x="3792" y="1995"/>
                    </a:lnTo>
                    <a:lnTo>
                      <a:pt x="3795" y="1898"/>
                    </a:lnTo>
                    <a:lnTo>
                      <a:pt x="3792" y="1801"/>
                    </a:lnTo>
                    <a:lnTo>
                      <a:pt x="3785" y="1705"/>
                    </a:lnTo>
                    <a:lnTo>
                      <a:pt x="3773" y="1610"/>
                    </a:lnTo>
                    <a:lnTo>
                      <a:pt x="3756" y="1516"/>
                    </a:lnTo>
                    <a:lnTo>
                      <a:pt x="3735" y="1425"/>
                    </a:lnTo>
                    <a:lnTo>
                      <a:pt x="3710" y="1334"/>
                    </a:lnTo>
                    <a:lnTo>
                      <a:pt x="3679" y="1247"/>
                    </a:lnTo>
                    <a:lnTo>
                      <a:pt x="3645" y="1161"/>
                    </a:lnTo>
                    <a:lnTo>
                      <a:pt x="3607" y="1076"/>
                    </a:lnTo>
                    <a:lnTo>
                      <a:pt x="3566" y="994"/>
                    </a:lnTo>
                    <a:lnTo>
                      <a:pt x="3520" y="916"/>
                    </a:lnTo>
                    <a:lnTo>
                      <a:pt x="3470" y="838"/>
                    </a:lnTo>
                    <a:lnTo>
                      <a:pt x="3418" y="764"/>
                    </a:lnTo>
                    <a:lnTo>
                      <a:pt x="3361" y="692"/>
                    </a:lnTo>
                    <a:lnTo>
                      <a:pt x="3301" y="624"/>
                    </a:lnTo>
                    <a:lnTo>
                      <a:pt x="3238" y="557"/>
                    </a:lnTo>
                    <a:lnTo>
                      <a:pt x="3172" y="494"/>
                    </a:lnTo>
                    <a:lnTo>
                      <a:pt x="3104" y="435"/>
                    </a:lnTo>
                    <a:lnTo>
                      <a:pt x="3032" y="378"/>
                    </a:lnTo>
                    <a:lnTo>
                      <a:pt x="2958" y="325"/>
                    </a:lnTo>
                    <a:lnTo>
                      <a:pt x="2880" y="276"/>
                    </a:lnTo>
                    <a:lnTo>
                      <a:pt x="2801" y="230"/>
                    </a:lnTo>
                    <a:lnTo>
                      <a:pt x="2719" y="188"/>
                    </a:lnTo>
                    <a:lnTo>
                      <a:pt x="2635" y="149"/>
                    </a:lnTo>
                    <a:lnTo>
                      <a:pt x="2549" y="116"/>
                    </a:lnTo>
                    <a:lnTo>
                      <a:pt x="2461" y="86"/>
                    </a:lnTo>
                    <a:lnTo>
                      <a:pt x="2371" y="60"/>
                    </a:lnTo>
                    <a:lnTo>
                      <a:pt x="2279" y="39"/>
                    </a:lnTo>
                    <a:lnTo>
                      <a:pt x="2186" y="22"/>
                    </a:lnTo>
                    <a:lnTo>
                      <a:pt x="2091" y="10"/>
                    </a:lnTo>
                    <a:lnTo>
                      <a:pt x="1995" y="2"/>
                    </a:lnTo>
                    <a:lnTo>
                      <a:pt x="1897" y="0"/>
                    </a:lnTo>
                    <a:lnTo>
                      <a:pt x="1800" y="2"/>
                    </a:lnTo>
                    <a:lnTo>
                      <a:pt x="1704" y="10"/>
                    </a:lnTo>
                    <a:lnTo>
                      <a:pt x="1610" y="22"/>
                    </a:lnTo>
                    <a:lnTo>
                      <a:pt x="1516" y="39"/>
                    </a:lnTo>
                    <a:lnTo>
                      <a:pt x="1424" y="60"/>
                    </a:lnTo>
                    <a:lnTo>
                      <a:pt x="1335" y="86"/>
                    </a:lnTo>
                    <a:lnTo>
                      <a:pt x="1247" y="116"/>
                    </a:lnTo>
                    <a:lnTo>
                      <a:pt x="1161" y="149"/>
                    </a:lnTo>
                    <a:lnTo>
                      <a:pt x="1077" y="188"/>
                    </a:lnTo>
                    <a:lnTo>
                      <a:pt x="995" y="230"/>
                    </a:lnTo>
                    <a:lnTo>
                      <a:pt x="915" y="276"/>
                    </a:lnTo>
                    <a:lnTo>
                      <a:pt x="838" y="325"/>
                    </a:lnTo>
                    <a:lnTo>
                      <a:pt x="764" y="378"/>
                    </a:lnTo>
                    <a:lnTo>
                      <a:pt x="692" y="435"/>
                    </a:lnTo>
                    <a:lnTo>
                      <a:pt x="623" y="494"/>
                    </a:lnTo>
                    <a:lnTo>
                      <a:pt x="557" y="557"/>
                    </a:lnTo>
                    <a:lnTo>
                      <a:pt x="495" y="624"/>
                    </a:lnTo>
                    <a:lnTo>
                      <a:pt x="435" y="692"/>
                    </a:lnTo>
                    <a:lnTo>
                      <a:pt x="378" y="764"/>
                    </a:lnTo>
                    <a:lnTo>
                      <a:pt x="325" y="838"/>
                    </a:lnTo>
                    <a:lnTo>
                      <a:pt x="276" y="916"/>
                    </a:lnTo>
                    <a:lnTo>
                      <a:pt x="230" y="994"/>
                    </a:lnTo>
                    <a:lnTo>
                      <a:pt x="187" y="1076"/>
                    </a:lnTo>
                    <a:lnTo>
                      <a:pt x="150" y="1161"/>
                    </a:lnTo>
                    <a:lnTo>
                      <a:pt x="115" y="1247"/>
                    </a:lnTo>
                    <a:lnTo>
                      <a:pt x="86" y="1334"/>
                    </a:lnTo>
                    <a:lnTo>
                      <a:pt x="60" y="1425"/>
                    </a:lnTo>
                    <a:lnTo>
                      <a:pt x="39" y="1516"/>
                    </a:lnTo>
                    <a:lnTo>
                      <a:pt x="23" y="1610"/>
                    </a:lnTo>
                    <a:lnTo>
                      <a:pt x="10" y="1705"/>
                    </a:lnTo>
                    <a:lnTo>
                      <a:pt x="3" y="1801"/>
                    </a:lnTo>
                    <a:lnTo>
                      <a:pt x="0" y="1898"/>
                    </a:lnTo>
                    <a:lnTo>
                      <a:pt x="3" y="1995"/>
                    </a:lnTo>
                    <a:lnTo>
                      <a:pt x="10" y="2092"/>
                    </a:lnTo>
                    <a:lnTo>
                      <a:pt x="23" y="2187"/>
                    </a:lnTo>
                    <a:lnTo>
                      <a:pt x="39" y="2279"/>
                    </a:lnTo>
                    <a:lnTo>
                      <a:pt x="60" y="2371"/>
                    </a:lnTo>
                    <a:lnTo>
                      <a:pt x="86" y="2461"/>
                    </a:lnTo>
                    <a:lnTo>
                      <a:pt x="115" y="2550"/>
                    </a:lnTo>
                    <a:lnTo>
                      <a:pt x="150" y="2636"/>
                    </a:lnTo>
                    <a:lnTo>
                      <a:pt x="187" y="2720"/>
                    </a:lnTo>
                    <a:lnTo>
                      <a:pt x="230" y="2801"/>
                    </a:lnTo>
                    <a:lnTo>
                      <a:pt x="276" y="2881"/>
                    </a:lnTo>
                    <a:lnTo>
                      <a:pt x="325" y="2957"/>
                    </a:lnTo>
                    <a:lnTo>
                      <a:pt x="378" y="3032"/>
                    </a:lnTo>
                    <a:lnTo>
                      <a:pt x="435" y="3103"/>
                    </a:lnTo>
                    <a:lnTo>
                      <a:pt x="495" y="3173"/>
                    </a:lnTo>
                    <a:lnTo>
                      <a:pt x="557" y="3238"/>
                    </a:lnTo>
                    <a:lnTo>
                      <a:pt x="623" y="3302"/>
                    </a:lnTo>
                    <a:lnTo>
                      <a:pt x="692" y="3362"/>
                    </a:lnTo>
                    <a:lnTo>
                      <a:pt x="764" y="3417"/>
                    </a:lnTo>
                    <a:lnTo>
                      <a:pt x="838" y="3471"/>
                    </a:lnTo>
                    <a:lnTo>
                      <a:pt x="915" y="3520"/>
                    </a:lnTo>
                    <a:lnTo>
                      <a:pt x="995" y="3565"/>
                    </a:lnTo>
                    <a:lnTo>
                      <a:pt x="1077" y="3608"/>
                    </a:lnTo>
                    <a:lnTo>
                      <a:pt x="1161" y="3646"/>
                    </a:lnTo>
                    <a:lnTo>
                      <a:pt x="1247" y="3680"/>
                    </a:lnTo>
                    <a:lnTo>
                      <a:pt x="1335" y="3710"/>
                    </a:lnTo>
                    <a:lnTo>
                      <a:pt x="1424" y="3735"/>
                    </a:lnTo>
                    <a:lnTo>
                      <a:pt x="1516" y="3757"/>
                    </a:lnTo>
                    <a:lnTo>
                      <a:pt x="1610" y="3774"/>
                    </a:lnTo>
                    <a:lnTo>
                      <a:pt x="1704" y="3786"/>
                    </a:lnTo>
                    <a:lnTo>
                      <a:pt x="1800" y="3793"/>
                    </a:lnTo>
                    <a:lnTo>
                      <a:pt x="1897" y="3795"/>
                    </a:lnTo>
                  </a:path>
                </a:pathLst>
              </a:custGeom>
              <a:noFill/>
              <a:ln w="3175">
                <a:solidFill>
                  <a:srgbClr val="1F1A17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2" name="Freeform 280"/>
              <p:cNvSpPr>
                <a:spLocks/>
              </p:cNvSpPr>
              <p:nvPr/>
            </p:nvSpPr>
            <p:spPr bwMode="auto">
              <a:xfrm>
                <a:off x="3586" y="1574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6"/>
                  </a:cxn>
                  <a:cxn ang="0">
                    <a:pos x="2635" y="3645"/>
                  </a:cxn>
                  <a:cxn ang="0">
                    <a:pos x="2880" y="3520"/>
                  </a:cxn>
                  <a:cxn ang="0">
                    <a:pos x="3104" y="3361"/>
                  </a:cxn>
                  <a:cxn ang="0">
                    <a:pos x="3301" y="3172"/>
                  </a:cxn>
                  <a:cxn ang="0">
                    <a:pos x="3470" y="2957"/>
                  </a:cxn>
                  <a:cxn ang="0">
                    <a:pos x="3607" y="2719"/>
                  </a:cxn>
                  <a:cxn ang="0">
                    <a:pos x="3710" y="2460"/>
                  </a:cxn>
                  <a:cxn ang="0">
                    <a:pos x="3773" y="2186"/>
                  </a:cxn>
                  <a:cxn ang="0">
                    <a:pos x="3795" y="1898"/>
                  </a:cxn>
                  <a:cxn ang="0">
                    <a:pos x="3773" y="1609"/>
                  </a:cxn>
                  <a:cxn ang="0">
                    <a:pos x="3710" y="1334"/>
                  </a:cxn>
                  <a:cxn ang="0">
                    <a:pos x="3607" y="1076"/>
                  </a:cxn>
                  <a:cxn ang="0">
                    <a:pos x="3470" y="837"/>
                  </a:cxn>
                  <a:cxn ang="0">
                    <a:pos x="3301" y="623"/>
                  </a:cxn>
                  <a:cxn ang="0">
                    <a:pos x="3104" y="434"/>
                  </a:cxn>
                  <a:cxn ang="0">
                    <a:pos x="2880" y="275"/>
                  </a:cxn>
                  <a:cxn ang="0">
                    <a:pos x="2635" y="149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0" y="2"/>
                  </a:cxn>
                  <a:cxn ang="0">
                    <a:pos x="1516" y="38"/>
                  </a:cxn>
                  <a:cxn ang="0">
                    <a:pos x="1247" y="116"/>
                  </a:cxn>
                  <a:cxn ang="0">
                    <a:pos x="995" y="229"/>
                  </a:cxn>
                  <a:cxn ang="0">
                    <a:pos x="764" y="377"/>
                  </a:cxn>
                  <a:cxn ang="0">
                    <a:pos x="557" y="557"/>
                  </a:cxn>
                  <a:cxn ang="0">
                    <a:pos x="378" y="763"/>
                  </a:cxn>
                  <a:cxn ang="0">
                    <a:pos x="230" y="994"/>
                  </a:cxn>
                  <a:cxn ang="0">
                    <a:pos x="115" y="1246"/>
                  </a:cxn>
                  <a:cxn ang="0">
                    <a:pos x="39" y="1516"/>
                  </a:cxn>
                  <a:cxn ang="0">
                    <a:pos x="3" y="1800"/>
                  </a:cxn>
                  <a:cxn ang="0">
                    <a:pos x="10" y="2091"/>
                  </a:cxn>
                  <a:cxn ang="0">
                    <a:pos x="60" y="2371"/>
                  </a:cxn>
                  <a:cxn ang="0">
                    <a:pos x="150" y="2635"/>
                  </a:cxn>
                  <a:cxn ang="0">
                    <a:pos x="276" y="2880"/>
                  </a:cxn>
                  <a:cxn ang="0">
                    <a:pos x="435" y="3103"/>
                  </a:cxn>
                  <a:cxn ang="0">
                    <a:pos x="623" y="3301"/>
                  </a:cxn>
                  <a:cxn ang="0">
                    <a:pos x="838" y="3471"/>
                  </a:cxn>
                  <a:cxn ang="0">
                    <a:pos x="1077" y="3608"/>
                  </a:cxn>
                  <a:cxn ang="0">
                    <a:pos x="1335" y="3709"/>
                  </a:cxn>
                  <a:cxn ang="0">
                    <a:pos x="1610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5" y="3792"/>
                    </a:lnTo>
                    <a:lnTo>
                      <a:pt x="2091" y="3786"/>
                    </a:lnTo>
                    <a:lnTo>
                      <a:pt x="2186" y="3774"/>
                    </a:lnTo>
                    <a:lnTo>
                      <a:pt x="2279" y="3756"/>
                    </a:lnTo>
                    <a:lnTo>
                      <a:pt x="2371" y="3736"/>
                    </a:lnTo>
                    <a:lnTo>
                      <a:pt x="2461" y="3709"/>
                    </a:lnTo>
                    <a:lnTo>
                      <a:pt x="2549" y="3680"/>
                    </a:lnTo>
                    <a:lnTo>
                      <a:pt x="2635" y="3645"/>
                    </a:lnTo>
                    <a:lnTo>
                      <a:pt x="2719" y="3608"/>
                    </a:lnTo>
                    <a:lnTo>
                      <a:pt x="2801" y="3566"/>
                    </a:lnTo>
                    <a:lnTo>
                      <a:pt x="2880" y="3520"/>
                    </a:lnTo>
                    <a:lnTo>
                      <a:pt x="2958" y="3471"/>
                    </a:lnTo>
                    <a:lnTo>
                      <a:pt x="3032" y="3417"/>
                    </a:lnTo>
                    <a:lnTo>
                      <a:pt x="3104" y="3361"/>
                    </a:lnTo>
                    <a:lnTo>
                      <a:pt x="3172" y="3301"/>
                    </a:lnTo>
                    <a:lnTo>
                      <a:pt x="3238" y="3239"/>
                    </a:lnTo>
                    <a:lnTo>
                      <a:pt x="3301" y="3172"/>
                    </a:lnTo>
                    <a:lnTo>
                      <a:pt x="3361" y="3103"/>
                    </a:lnTo>
                    <a:lnTo>
                      <a:pt x="3418" y="3031"/>
                    </a:lnTo>
                    <a:lnTo>
                      <a:pt x="3470" y="2957"/>
                    </a:lnTo>
                    <a:lnTo>
                      <a:pt x="3520" y="2880"/>
                    </a:lnTo>
                    <a:lnTo>
                      <a:pt x="3566" y="2800"/>
                    </a:lnTo>
                    <a:lnTo>
                      <a:pt x="3607" y="2719"/>
                    </a:lnTo>
                    <a:lnTo>
                      <a:pt x="3645" y="2635"/>
                    </a:lnTo>
                    <a:lnTo>
                      <a:pt x="3679" y="2549"/>
                    </a:lnTo>
                    <a:lnTo>
                      <a:pt x="3710" y="2460"/>
                    </a:lnTo>
                    <a:lnTo>
                      <a:pt x="3735" y="2371"/>
                    </a:lnTo>
                    <a:lnTo>
                      <a:pt x="3756" y="2279"/>
                    </a:lnTo>
                    <a:lnTo>
                      <a:pt x="3773" y="2186"/>
                    </a:lnTo>
                    <a:lnTo>
                      <a:pt x="3785" y="2091"/>
                    </a:lnTo>
                    <a:lnTo>
                      <a:pt x="3792" y="1995"/>
                    </a:lnTo>
                    <a:lnTo>
                      <a:pt x="3795" y="1898"/>
                    </a:lnTo>
                    <a:lnTo>
                      <a:pt x="3792" y="1800"/>
                    </a:lnTo>
                    <a:lnTo>
                      <a:pt x="3785" y="1704"/>
                    </a:lnTo>
                    <a:lnTo>
                      <a:pt x="3773" y="1609"/>
                    </a:lnTo>
                    <a:lnTo>
                      <a:pt x="3756" y="1516"/>
                    </a:lnTo>
                    <a:lnTo>
                      <a:pt x="3735" y="1424"/>
                    </a:lnTo>
                    <a:lnTo>
                      <a:pt x="3710" y="1334"/>
                    </a:lnTo>
                    <a:lnTo>
                      <a:pt x="3679" y="1246"/>
                    </a:lnTo>
                    <a:lnTo>
                      <a:pt x="3645" y="1160"/>
                    </a:lnTo>
                    <a:lnTo>
                      <a:pt x="3607" y="1076"/>
                    </a:lnTo>
                    <a:lnTo>
                      <a:pt x="3566" y="994"/>
                    </a:lnTo>
                    <a:lnTo>
                      <a:pt x="3520" y="915"/>
                    </a:lnTo>
                    <a:lnTo>
                      <a:pt x="3470" y="837"/>
                    </a:lnTo>
                    <a:lnTo>
                      <a:pt x="3418" y="763"/>
                    </a:lnTo>
                    <a:lnTo>
                      <a:pt x="3361" y="691"/>
                    </a:lnTo>
                    <a:lnTo>
                      <a:pt x="3301" y="623"/>
                    </a:lnTo>
                    <a:lnTo>
                      <a:pt x="3238" y="557"/>
                    </a:lnTo>
                    <a:lnTo>
                      <a:pt x="3172" y="494"/>
                    </a:lnTo>
                    <a:lnTo>
                      <a:pt x="3104" y="434"/>
                    </a:lnTo>
                    <a:lnTo>
                      <a:pt x="3032" y="377"/>
                    </a:lnTo>
                    <a:lnTo>
                      <a:pt x="2958" y="325"/>
                    </a:lnTo>
                    <a:lnTo>
                      <a:pt x="2880" y="275"/>
                    </a:lnTo>
                    <a:lnTo>
                      <a:pt x="2801" y="229"/>
                    </a:lnTo>
                    <a:lnTo>
                      <a:pt x="2719" y="188"/>
                    </a:lnTo>
                    <a:lnTo>
                      <a:pt x="2635" y="149"/>
                    </a:lnTo>
                    <a:lnTo>
                      <a:pt x="2549" y="116"/>
                    </a:lnTo>
                    <a:lnTo>
                      <a:pt x="2461" y="85"/>
                    </a:lnTo>
                    <a:lnTo>
                      <a:pt x="2371" y="60"/>
                    </a:lnTo>
                    <a:lnTo>
                      <a:pt x="2279" y="38"/>
                    </a:lnTo>
                    <a:lnTo>
                      <a:pt x="2186" y="22"/>
                    </a:lnTo>
                    <a:lnTo>
                      <a:pt x="2091" y="10"/>
                    </a:lnTo>
                    <a:lnTo>
                      <a:pt x="1995" y="2"/>
                    </a:lnTo>
                    <a:lnTo>
                      <a:pt x="1897" y="0"/>
                    </a:lnTo>
                    <a:lnTo>
                      <a:pt x="1800" y="2"/>
                    </a:lnTo>
                    <a:lnTo>
                      <a:pt x="1704" y="10"/>
                    </a:lnTo>
                    <a:lnTo>
                      <a:pt x="1610" y="22"/>
                    </a:lnTo>
                    <a:lnTo>
                      <a:pt x="1516" y="38"/>
                    </a:lnTo>
                    <a:lnTo>
                      <a:pt x="1424" y="60"/>
                    </a:lnTo>
                    <a:lnTo>
                      <a:pt x="1335" y="85"/>
                    </a:lnTo>
                    <a:lnTo>
                      <a:pt x="1247" y="116"/>
                    </a:lnTo>
                    <a:lnTo>
                      <a:pt x="1161" y="149"/>
                    </a:lnTo>
                    <a:lnTo>
                      <a:pt x="1077" y="188"/>
                    </a:lnTo>
                    <a:lnTo>
                      <a:pt x="995" y="229"/>
                    </a:lnTo>
                    <a:lnTo>
                      <a:pt x="915" y="275"/>
                    </a:lnTo>
                    <a:lnTo>
                      <a:pt x="838" y="325"/>
                    </a:lnTo>
                    <a:lnTo>
                      <a:pt x="764" y="377"/>
                    </a:lnTo>
                    <a:lnTo>
                      <a:pt x="692" y="434"/>
                    </a:lnTo>
                    <a:lnTo>
                      <a:pt x="623" y="494"/>
                    </a:lnTo>
                    <a:lnTo>
                      <a:pt x="557" y="557"/>
                    </a:lnTo>
                    <a:lnTo>
                      <a:pt x="495" y="623"/>
                    </a:lnTo>
                    <a:lnTo>
                      <a:pt x="435" y="691"/>
                    </a:lnTo>
                    <a:lnTo>
                      <a:pt x="378" y="763"/>
                    </a:lnTo>
                    <a:lnTo>
                      <a:pt x="325" y="837"/>
                    </a:lnTo>
                    <a:lnTo>
                      <a:pt x="276" y="915"/>
                    </a:lnTo>
                    <a:lnTo>
                      <a:pt x="230" y="994"/>
                    </a:lnTo>
                    <a:lnTo>
                      <a:pt x="187" y="1076"/>
                    </a:lnTo>
                    <a:lnTo>
                      <a:pt x="150" y="1160"/>
                    </a:lnTo>
                    <a:lnTo>
                      <a:pt x="115" y="1246"/>
                    </a:lnTo>
                    <a:lnTo>
                      <a:pt x="86" y="1334"/>
                    </a:lnTo>
                    <a:lnTo>
                      <a:pt x="60" y="1424"/>
                    </a:lnTo>
                    <a:lnTo>
                      <a:pt x="39" y="1516"/>
                    </a:lnTo>
                    <a:lnTo>
                      <a:pt x="23" y="1609"/>
                    </a:lnTo>
                    <a:lnTo>
                      <a:pt x="10" y="1704"/>
                    </a:lnTo>
                    <a:lnTo>
                      <a:pt x="3" y="1800"/>
                    </a:lnTo>
                    <a:lnTo>
                      <a:pt x="0" y="1898"/>
                    </a:lnTo>
                    <a:lnTo>
                      <a:pt x="3" y="1995"/>
                    </a:lnTo>
                    <a:lnTo>
                      <a:pt x="10" y="2091"/>
                    </a:lnTo>
                    <a:lnTo>
                      <a:pt x="23" y="2186"/>
                    </a:lnTo>
                    <a:lnTo>
                      <a:pt x="39" y="2279"/>
                    </a:lnTo>
                    <a:lnTo>
                      <a:pt x="60" y="2371"/>
                    </a:lnTo>
                    <a:lnTo>
                      <a:pt x="86" y="2460"/>
                    </a:lnTo>
                    <a:lnTo>
                      <a:pt x="115" y="2549"/>
                    </a:lnTo>
                    <a:lnTo>
                      <a:pt x="150" y="2635"/>
                    </a:lnTo>
                    <a:lnTo>
                      <a:pt x="187" y="2719"/>
                    </a:lnTo>
                    <a:lnTo>
                      <a:pt x="230" y="2800"/>
                    </a:lnTo>
                    <a:lnTo>
                      <a:pt x="276" y="2880"/>
                    </a:lnTo>
                    <a:lnTo>
                      <a:pt x="325" y="2957"/>
                    </a:lnTo>
                    <a:lnTo>
                      <a:pt x="378" y="3031"/>
                    </a:lnTo>
                    <a:lnTo>
                      <a:pt x="435" y="3103"/>
                    </a:lnTo>
                    <a:lnTo>
                      <a:pt x="495" y="3172"/>
                    </a:lnTo>
                    <a:lnTo>
                      <a:pt x="557" y="3239"/>
                    </a:lnTo>
                    <a:lnTo>
                      <a:pt x="623" y="3301"/>
                    </a:lnTo>
                    <a:lnTo>
                      <a:pt x="692" y="3361"/>
                    </a:lnTo>
                    <a:lnTo>
                      <a:pt x="764" y="3417"/>
                    </a:lnTo>
                    <a:lnTo>
                      <a:pt x="838" y="3471"/>
                    </a:lnTo>
                    <a:lnTo>
                      <a:pt x="915" y="3520"/>
                    </a:lnTo>
                    <a:lnTo>
                      <a:pt x="995" y="3566"/>
                    </a:lnTo>
                    <a:lnTo>
                      <a:pt x="1077" y="3608"/>
                    </a:lnTo>
                    <a:lnTo>
                      <a:pt x="1161" y="3645"/>
                    </a:lnTo>
                    <a:lnTo>
                      <a:pt x="1247" y="3680"/>
                    </a:lnTo>
                    <a:lnTo>
                      <a:pt x="1335" y="3709"/>
                    </a:lnTo>
                    <a:lnTo>
                      <a:pt x="1424" y="3736"/>
                    </a:lnTo>
                    <a:lnTo>
                      <a:pt x="1516" y="3756"/>
                    </a:lnTo>
                    <a:lnTo>
                      <a:pt x="1610" y="3774"/>
                    </a:lnTo>
                    <a:lnTo>
                      <a:pt x="1704" y="3786"/>
                    </a:lnTo>
                    <a:lnTo>
                      <a:pt x="1800" y="3792"/>
                    </a:lnTo>
                    <a:lnTo>
                      <a:pt x="1897" y="3795"/>
                    </a:lnTo>
                    <a:close/>
                  </a:path>
                </a:pathLst>
              </a:custGeom>
              <a:noFill/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3" name="Freeform 281"/>
              <p:cNvSpPr>
                <a:spLocks/>
              </p:cNvSpPr>
              <p:nvPr/>
            </p:nvSpPr>
            <p:spPr bwMode="auto">
              <a:xfrm>
                <a:off x="2603" y="1080"/>
                <a:ext cx="127" cy="293"/>
              </a:xfrm>
              <a:custGeom>
                <a:avLst/>
                <a:gdLst/>
                <a:ahLst/>
                <a:cxnLst>
                  <a:cxn ang="0">
                    <a:pos x="327" y="1447"/>
                  </a:cxn>
                  <a:cxn ang="0">
                    <a:pos x="355" y="1408"/>
                  </a:cxn>
                  <a:cxn ang="0">
                    <a:pos x="430" y="1327"/>
                  </a:cxn>
                  <a:cxn ang="0">
                    <a:pos x="449" y="1298"/>
                  </a:cxn>
                  <a:cxn ang="0">
                    <a:pos x="465" y="1264"/>
                  </a:cxn>
                  <a:cxn ang="0">
                    <a:pos x="477" y="1224"/>
                  </a:cxn>
                  <a:cxn ang="0">
                    <a:pos x="484" y="1174"/>
                  </a:cxn>
                  <a:cxn ang="0">
                    <a:pos x="484" y="1114"/>
                  </a:cxn>
                  <a:cxn ang="0">
                    <a:pos x="485" y="1078"/>
                  </a:cxn>
                  <a:cxn ang="0">
                    <a:pos x="495" y="1066"/>
                  </a:cxn>
                  <a:cxn ang="0">
                    <a:pos x="511" y="1061"/>
                  </a:cxn>
                  <a:cxn ang="0">
                    <a:pos x="580" y="1052"/>
                  </a:cxn>
                  <a:cxn ang="0">
                    <a:pos x="601" y="1040"/>
                  </a:cxn>
                  <a:cxn ang="0">
                    <a:pos x="619" y="1018"/>
                  </a:cxn>
                  <a:cxn ang="0">
                    <a:pos x="631" y="983"/>
                  </a:cxn>
                  <a:cxn ang="0">
                    <a:pos x="635" y="932"/>
                  </a:cxn>
                  <a:cxn ang="0">
                    <a:pos x="630" y="860"/>
                  </a:cxn>
                  <a:cxn ang="0">
                    <a:pos x="598" y="848"/>
                  </a:cxn>
                  <a:cxn ang="0">
                    <a:pos x="524" y="795"/>
                  </a:cxn>
                  <a:cxn ang="0">
                    <a:pos x="451" y="735"/>
                  </a:cxn>
                  <a:cxn ang="0">
                    <a:pos x="419" y="713"/>
                  </a:cxn>
                  <a:cxn ang="0">
                    <a:pos x="394" y="710"/>
                  </a:cxn>
                  <a:cxn ang="0">
                    <a:pos x="351" y="690"/>
                  </a:cxn>
                  <a:cxn ang="0">
                    <a:pos x="320" y="664"/>
                  </a:cxn>
                  <a:cxn ang="0">
                    <a:pos x="315" y="651"/>
                  </a:cxn>
                  <a:cxn ang="0">
                    <a:pos x="325" y="624"/>
                  </a:cxn>
                  <a:cxn ang="0">
                    <a:pos x="373" y="535"/>
                  </a:cxn>
                  <a:cxn ang="0">
                    <a:pos x="433" y="447"/>
                  </a:cxn>
                  <a:cxn ang="0">
                    <a:pos x="462" y="420"/>
                  </a:cxn>
                  <a:cxn ang="0">
                    <a:pos x="386" y="346"/>
                  </a:cxn>
                  <a:cxn ang="0">
                    <a:pos x="367" y="316"/>
                  </a:cxn>
                  <a:cxn ang="0">
                    <a:pos x="357" y="285"/>
                  </a:cxn>
                  <a:cxn ang="0">
                    <a:pos x="361" y="254"/>
                  </a:cxn>
                  <a:cxn ang="0">
                    <a:pos x="376" y="225"/>
                  </a:cxn>
                  <a:cxn ang="0">
                    <a:pos x="391" y="212"/>
                  </a:cxn>
                  <a:cxn ang="0">
                    <a:pos x="399" y="105"/>
                  </a:cxn>
                  <a:cxn ang="0">
                    <a:pos x="364" y="97"/>
                  </a:cxn>
                  <a:cxn ang="0">
                    <a:pos x="278" y="60"/>
                  </a:cxn>
                  <a:cxn ang="0">
                    <a:pos x="205" y="18"/>
                  </a:cxn>
                  <a:cxn ang="0">
                    <a:pos x="188" y="0"/>
                  </a:cxn>
                  <a:cxn ang="0">
                    <a:pos x="156" y="55"/>
                  </a:cxn>
                  <a:cxn ang="0">
                    <a:pos x="121" y="139"/>
                  </a:cxn>
                  <a:cxn ang="0">
                    <a:pos x="94" y="238"/>
                  </a:cxn>
                  <a:cxn ang="0">
                    <a:pos x="83" y="310"/>
                  </a:cxn>
                  <a:cxn ang="0">
                    <a:pos x="76" y="390"/>
                  </a:cxn>
                  <a:cxn ang="0">
                    <a:pos x="78" y="481"/>
                  </a:cxn>
                  <a:cxn ang="0">
                    <a:pos x="76" y="558"/>
                  </a:cxn>
                  <a:cxn ang="0">
                    <a:pos x="59" y="598"/>
                  </a:cxn>
                  <a:cxn ang="0">
                    <a:pos x="34" y="687"/>
                  </a:cxn>
                  <a:cxn ang="0">
                    <a:pos x="14" y="737"/>
                  </a:cxn>
                  <a:cxn ang="0">
                    <a:pos x="38" y="794"/>
                  </a:cxn>
                  <a:cxn ang="0">
                    <a:pos x="132" y="905"/>
                  </a:cxn>
                  <a:cxn ang="0">
                    <a:pos x="169" y="960"/>
                  </a:cxn>
                  <a:cxn ang="0">
                    <a:pos x="202" y="1017"/>
                  </a:cxn>
                  <a:cxn ang="0">
                    <a:pos x="229" y="1077"/>
                  </a:cxn>
                  <a:cxn ang="0">
                    <a:pos x="252" y="1141"/>
                  </a:cxn>
                  <a:cxn ang="0">
                    <a:pos x="288" y="1288"/>
                  </a:cxn>
                  <a:cxn ang="0">
                    <a:pos x="315" y="1468"/>
                  </a:cxn>
                </a:cxnLst>
                <a:rect l="0" t="0" r="r" b="b"/>
                <a:pathLst>
                  <a:path w="635" h="1468">
                    <a:moveTo>
                      <a:pt x="315" y="1468"/>
                    </a:moveTo>
                    <a:lnTo>
                      <a:pt x="320" y="1457"/>
                    </a:lnTo>
                    <a:lnTo>
                      <a:pt x="327" y="1447"/>
                    </a:lnTo>
                    <a:lnTo>
                      <a:pt x="333" y="1437"/>
                    </a:lnTo>
                    <a:lnTo>
                      <a:pt x="341" y="1427"/>
                    </a:lnTo>
                    <a:lnTo>
                      <a:pt x="355" y="1408"/>
                    </a:lnTo>
                    <a:lnTo>
                      <a:pt x="370" y="1392"/>
                    </a:lnTo>
                    <a:lnTo>
                      <a:pt x="401" y="1360"/>
                    </a:lnTo>
                    <a:lnTo>
                      <a:pt x="430" y="1327"/>
                    </a:lnTo>
                    <a:lnTo>
                      <a:pt x="437" y="1318"/>
                    </a:lnTo>
                    <a:lnTo>
                      <a:pt x="443" y="1308"/>
                    </a:lnTo>
                    <a:lnTo>
                      <a:pt x="449" y="1298"/>
                    </a:lnTo>
                    <a:lnTo>
                      <a:pt x="455" y="1288"/>
                    </a:lnTo>
                    <a:lnTo>
                      <a:pt x="461" y="1276"/>
                    </a:lnTo>
                    <a:lnTo>
                      <a:pt x="465" y="1264"/>
                    </a:lnTo>
                    <a:lnTo>
                      <a:pt x="470" y="1252"/>
                    </a:lnTo>
                    <a:lnTo>
                      <a:pt x="474" y="1238"/>
                    </a:lnTo>
                    <a:lnTo>
                      <a:pt x="477" y="1224"/>
                    </a:lnTo>
                    <a:lnTo>
                      <a:pt x="481" y="1209"/>
                    </a:lnTo>
                    <a:lnTo>
                      <a:pt x="483" y="1193"/>
                    </a:lnTo>
                    <a:lnTo>
                      <a:pt x="484" y="1174"/>
                    </a:lnTo>
                    <a:lnTo>
                      <a:pt x="485" y="1155"/>
                    </a:lnTo>
                    <a:lnTo>
                      <a:pt x="485" y="1136"/>
                    </a:lnTo>
                    <a:lnTo>
                      <a:pt x="484" y="1114"/>
                    </a:lnTo>
                    <a:lnTo>
                      <a:pt x="483" y="1091"/>
                    </a:lnTo>
                    <a:lnTo>
                      <a:pt x="483" y="1084"/>
                    </a:lnTo>
                    <a:lnTo>
                      <a:pt x="485" y="1078"/>
                    </a:lnTo>
                    <a:lnTo>
                      <a:pt x="487" y="1073"/>
                    </a:lnTo>
                    <a:lnTo>
                      <a:pt x="490" y="1069"/>
                    </a:lnTo>
                    <a:lnTo>
                      <a:pt x="495" y="1066"/>
                    </a:lnTo>
                    <a:lnTo>
                      <a:pt x="499" y="1064"/>
                    </a:lnTo>
                    <a:lnTo>
                      <a:pt x="506" y="1062"/>
                    </a:lnTo>
                    <a:lnTo>
                      <a:pt x="511" y="1061"/>
                    </a:lnTo>
                    <a:lnTo>
                      <a:pt x="540" y="1058"/>
                    </a:lnTo>
                    <a:lnTo>
                      <a:pt x="572" y="1054"/>
                    </a:lnTo>
                    <a:lnTo>
                      <a:pt x="580" y="1052"/>
                    </a:lnTo>
                    <a:lnTo>
                      <a:pt x="587" y="1049"/>
                    </a:lnTo>
                    <a:lnTo>
                      <a:pt x="594" y="1045"/>
                    </a:lnTo>
                    <a:lnTo>
                      <a:pt x="601" y="1040"/>
                    </a:lnTo>
                    <a:lnTo>
                      <a:pt x="608" y="1034"/>
                    </a:lnTo>
                    <a:lnTo>
                      <a:pt x="613" y="1027"/>
                    </a:lnTo>
                    <a:lnTo>
                      <a:pt x="619" y="1018"/>
                    </a:lnTo>
                    <a:lnTo>
                      <a:pt x="624" y="1008"/>
                    </a:lnTo>
                    <a:lnTo>
                      <a:pt x="628" y="996"/>
                    </a:lnTo>
                    <a:lnTo>
                      <a:pt x="631" y="983"/>
                    </a:lnTo>
                    <a:lnTo>
                      <a:pt x="633" y="968"/>
                    </a:lnTo>
                    <a:lnTo>
                      <a:pt x="635" y="951"/>
                    </a:lnTo>
                    <a:lnTo>
                      <a:pt x="635" y="932"/>
                    </a:lnTo>
                    <a:lnTo>
                      <a:pt x="634" y="910"/>
                    </a:lnTo>
                    <a:lnTo>
                      <a:pt x="632" y="886"/>
                    </a:lnTo>
                    <a:lnTo>
                      <a:pt x="630" y="860"/>
                    </a:lnTo>
                    <a:lnTo>
                      <a:pt x="620" y="859"/>
                    </a:lnTo>
                    <a:lnTo>
                      <a:pt x="610" y="855"/>
                    </a:lnTo>
                    <a:lnTo>
                      <a:pt x="598" y="848"/>
                    </a:lnTo>
                    <a:lnTo>
                      <a:pt x="585" y="840"/>
                    </a:lnTo>
                    <a:lnTo>
                      <a:pt x="556" y="820"/>
                    </a:lnTo>
                    <a:lnTo>
                      <a:pt x="524" y="795"/>
                    </a:lnTo>
                    <a:lnTo>
                      <a:pt x="494" y="770"/>
                    </a:lnTo>
                    <a:lnTo>
                      <a:pt x="464" y="746"/>
                    </a:lnTo>
                    <a:lnTo>
                      <a:pt x="451" y="735"/>
                    </a:lnTo>
                    <a:lnTo>
                      <a:pt x="439" y="726"/>
                    </a:lnTo>
                    <a:lnTo>
                      <a:pt x="428" y="718"/>
                    </a:lnTo>
                    <a:lnTo>
                      <a:pt x="419" y="713"/>
                    </a:lnTo>
                    <a:lnTo>
                      <a:pt x="412" y="713"/>
                    </a:lnTo>
                    <a:lnTo>
                      <a:pt x="403" y="712"/>
                    </a:lnTo>
                    <a:lnTo>
                      <a:pt x="394" y="710"/>
                    </a:lnTo>
                    <a:lnTo>
                      <a:pt x="386" y="706"/>
                    </a:lnTo>
                    <a:lnTo>
                      <a:pt x="368" y="699"/>
                    </a:lnTo>
                    <a:lnTo>
                      <a:pt x="351" y="690"/>
                    </a:lnTo>
                    <a:lnTo>
                      <a:pt x="337" y="679"/>
                    </a:lnTo>
                    <a:lnTo>
                      <a:pt x="325" y="669"/>
                    </a:lnTo>
                    <a:lnTo>
                      <a:pt x="320" y="664"/>
                    </a:lnTo>
                    <a:lnTo>
                      <a:pt x="317" y="660"/>
                    </a:lnTo>
                    <a:lnTo>
                      <a:pt x="315" y="654"/>
                    </a:lnTo>
                    <a:lnTo>
                      <a:pt x="315" y="651"/>
                    </a:lnTo>
                    <a:lnTo>
                      <a:pt x="316" y="644"/>
                    </a:lnTo>
                    <a:lnTo>
                      <a:pt x="319" y="636"/>
                    </a:lnTo>
                    <a:lnTo>
                      <a:pt x="325" y="624"/>
                    </a:lnTo>
                    <a:lnTo>
                      <a:pt x="331" y="608"/>
                    </a:lnTo>
                    <a:lnTo>
                      <a:pt x="350" y="573"/>
                    </a:lnTo>
                    <a:lnTo>
                      <a:pt x="373" y="535"/>
                    </a:lnTo>
                    <a:lnTo>
                      <a:pt x="397" y="496"/>
                    </a:lnTo>
                    <a:lnTo>
                      <a:pt x="421" y="461"/>
                    </a:lnTo>
                    <a:lnTo>
                      <a:pt x="433" y="447"/>
                    </a:lnTo>
                    <a:lnTo>
                      <a:pt x="443" y="435"/>
                    </a:lnTo>
                    <a:lnTo>
                      <a:pt x="453" y="425"/>
                    </a:lnTo>
                    <a:lnTo>
                      <a:pt x="462" y="420"/>
                    </a:lnTo>
                    <a:lnTo>
                      <a:pt x="427" y="388"/>
                    </a:lnTo>
                    <a:lnTo>
                      <a:pt x="393" y="354"/>
                    </a:lnTo>
                    <a:lnTo>
                      <a:pt x="386" y="346"/>
                    </a:lnTo>
                    <a:lnTo>
                      <a:pt x="379" y="336"/>
                    </a:lnTo>
                    <a:lnTo>
                      <a:pt x="373" y="326"/>
                    </a:lnTo>
                    <a:lnTo>
                      <a:pt x="367" y="316"/>
                    </a:lnTo>
                    <a:lnTo>
                      <a:pt x="363" y="306"/>
                    </a:lnTo>
                    <a:lnTo>
                      <a:pt x="360" y="295"/>
                    </a:lnTo>
                    <a:lnTo>
                      <a:pt x="357" y="285"/>
                    </a:lnTo>
                    <a:lnTo>
                      <a:pt x="356" y="273"/>
                    </a:lnTo>
                    <a:lnTo>
                      <a:pt x="357" y="264"/>
                    </a:lnTo>
                    <a:lnTo>
                      <a:pt x="361" y="254"/>
                    </a:lnTo>
                    <a:lnTo>
                      <a:pt x="364" y="243"/>
                    </a:lnTo>
                    <a:lnTo>
                      <a:pt x="369" y="233"/>
                    </a:lnTo>
                    <a:lnTo>
                      <a:pt x="376" y="225"/>
                    </a:lnTo>
                    <a:lnTo>
                      <a:pt x="384" y="217"/>
                    </a:lnTo>
                    <a:lnTo>
                      <a:pt x="387" y="214"/>
                    </a:lnTo>
                    <a:lnTo>
                      <a:pt x="391" y="212"/>
                    </a:lnTo>
                    <a:lnTo>
                      <a:pt x="394" y="210"/>
                    </a:lnTo>
                    <a:lnTo>
                      <a:pt x="399" y="209"/>
                    </a:lnTo>
                    <a:lnTo>
                      <a:pt x="399" y="105"/>
                    </a:lnTo>
                    <a:lnTo>
                      <a:pt x="389" y="104"/>
                    </a:lnTo>
                    <a:lnTo>
                      <a:pt x="377" y="101"/>
                    </a:lnTo>
                    <a:lnTo>
                      <a:pt x="364" y="97"/>
                    </a:lnTo>
                    <a:lnTo>
                      <a:pt x="348" y="92"/>
                    </a:lnTo>
                    <a:lnTo>
                      <a:pt x="314" y="77"/>
                    </a:lnTo>
                    <a:lnTo>
                      <a:pt x="278" y="60"/>
                    </a:lnTo>
                    <a:lnTo>
                      <a:pt x="244" y="43"/>
                    </a:lnTo>
                    <a:lnTo>
                      <a:pt x="216" y="25"/>
                    </a:lnTo>
                    <a:lnTo>
                      <a:pt x="205" y="18"/>
                    </a:lnTo>
                    <a:lnTo>
                      <a:pt x="196" y="11"/>
                    </a:lnTo>
                    <a:lnTo>
                      <a:pt x="191" y="4"/>
                    </a:lnTo>
                    <a:lnTo>
                      <a:pt x="188" y="0"/>
                    </a:lnTo>
                    <a:lnTo>
                      <a:pt x="183" y="9"/>
                    </a:lnTo>
                    <a:lnTo>
                      <a:pt x="167" y="35"/>
                    </a:lnTo>
                    <a:lnTo>
                      <a:pt x="156" y="55"/>
                    </a:lnTo>
                    <a:lnTo>
                      <a:pt x="145" y="79"/>
                    </a:lnTo>
                    <a:lnTo>
                      <a:pt x="133" y="107"/>
                    </a:lnTo>
                    <a:lnTo>
                      <a:pt x="121" y="139"/>
                    </a:lnTo>
                    <a:lnTo>
                      <a:pt x="109" y="176"/>
                    </a:lnTo>
                    <a:lnTo>
                      <a:pt x="99" y="216"/>
                    </a:lnTo>
                    <a:lnTo>
                      <a:pt x="94" y="238"/>
                    </a:lnTo>
                    <a:lnTo>
                      <a:pt x="89" y="261"/>
                    </a:lnTo>
                    <a:lnTo>
                      <a:pt x="86" y="285"/>
                    </a:lnTo>
                    <a:lnTo>
                      <a:pt x="83" y="310"/>
                    </a:lnTo>
                    <a:lnTo>
                      <a:pt x="79" y="336"/>
                    </a:lnTo>
                    <a:lnTo>
                      <a:pt x="78" y="363"/>
                    </a:lnTo>
                    <a:lnTo>
                      <a:pt x="76" y="390"/>
                    </a:lnTo>
                    <a:lnTo>
                      <a:pt x="76" y="420"/>
                    </a:lnTo>
                    <a:lnTo>
                      <a:pt x="76" y="449"/>
                    </a:lnTo>
                    <a:lnTo>
                      <a:pt x="78" y="481"/>
                    </a:lnTo>
                    <a:lnTo>
                      <a:pt x="81" y="512"/>
                    </a:lnTo>
                    <a:lnTo>
                      <a:pt x="84" y="545"/>
                    </a:lnTo>
                    <a:lnTo>
                      <a:pt x="76" y="558"/>
                    </a:lnTo>
                    <a:lnTo>
                      <a:pt x="70" y="571"/>
                    </a:lnTo>
                    <a:lnTo>
                      <a:pt x="64" y="584"/>
                    </a:lnTo>
                    <a:lnTo>
                      <a:pt x="59" y="598"/>
                    </a:lnTo>
                    <a:lnTo>
                      <a:pt x="50" y="629"/>
                    </a:lnTo>
                    <a:lnTo>
                      <a:pt x="41" y="658"/>
                    </a:lnTo>
                    <a:lnTo>
                      <a:pt x="34" y="687"/>
                    </a:lnTo>
                    <a:lnTo>
                      <a:pt x="25" y="714"/>
                    </a:lnTo>
                    <a:lnTo>
                      <a:pt x="20" y="726"/>
                    </a:lnTo>
                    <a:lnTo>
                      <a:pt x="14" y="737"/>
                    </a:lnTo>
                    <a:lnTo>
                      <a:pt x="8" y="747"/>
                    </a:lnTo>
                    <a:lnTo>
                      <a:pt x="0" y="755"/>
                    </a:lnTo>
                    <a:lnTo>
                      <a:pt x="38" y="794"/>
                    </a:lnTo>
                    <a:lnTo>
                      <a:pt x="72" y="832"/>
                    </a:lnTo>
                    <a:lnTo>
                      <a:pt x="103" y="869"/>
                    </a:lnTo>
                    <a:lnTo>
                      <a:pt x="132" y="905"/>
                    </a:lnTo>
                    <a:lnTo>
                      <a:pt x="145" y="923"/>
                    </a:lnTo>
                    <a:lnTo>
                      <a:pt x="158" y="942"/>
                    </a:lnTo>
                    <a:lnTo>
                      <a:pt x="169" y="960"/>
                    </a:lnTo>
                    <a:lnTo>
                      <a:pt x="181" y="979"/>
                    </a:lnTo>
                    <a:lnTo>
                      <a:pt x="192" y="999"/>
                    </a:lnTo>
                    <a:lnTo>
                      <a:pt x="202" y="1017"/>
                    </a:lnTo>
                    <a:lnTo>
                      <a:pt x="211" y="1037"/>
                    </a:lnTo>
                    <a:lnTo>
                      <a:pt x="220" y="1057"/>
                    </a:lnTo>
                    <a:lnTo>
                      <a:pt x="229" y="1077"/>
                    </a:lnTo>
                    <a:lnTo>
                      <a:pt x="236" y="1098"/>
                    </a:lnTo>
                    <a:lnTo>
                      <a:pt x="245" y="1120"/>
                    </a:lnTo>
                    <a:lnTo>
                      <a:pt x="252" y="1141"/>
                    </a:lnTo>
                    <a:lnTo>
                      <a:pt x="265" y="1187"/>
                    </a:lnTo>
                    <a:lnTo>
                      <a:pt x="277" y="1236"/>
                    </a:lnTo>
                    <a:lnTo>
                      <a:pt x="288" y="1288"/>
                    </a:lnTo>
                    <a:lnTo>
                      <a:pt x="297" y="1344"/>
                    </a:lnTo>
                    <a:lnTo>
                      <a:pt x="306" y="1404"/>
                    </a:lnTo>
                    <a:lnTo>
                      <a:pt x="315" y="1468"/>
                    </a:lnTo>
                    <a:close/>
                  </a:path>
                </a:pathLst>
              </a:custGeom>
              <a:solidFill>
                <a:srgbClr val="DEDEDD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4" name="Freeform 282"/>
              <p:cNvSpPr>
                <a:spLocks/>
              </p:cNvSpPr>
              <p:nvPr/>
            </p:nvSpPr>
            <p:spPr bwMode="auto">
              <a:xfrm>
                <a:off x="2603" y="1080"/>
                <a:ext cx="127" cy="293"/>
              </a:xfrm>
              <a:custGeom>
                <a:avLst/>
                <a:gdLst/>
                <a:ahLst/>
                <a:cxnLst>
                  <a:cxn ang="0">
                    <a:pos x="327" y="1447"/>
                  </a:cxn>
                  <a:cxn ang="0">
                    <a:pos x="355" y="1408"/>
                  </a:cxn>
                  <a:cxn ang="0">
                    <a:pos x="430" y="1327"/>
                  </a:cxn>
                  <a:cxn ang="0">
                    <a:pos x="449" y="1298"/>
                  </a:cxn>
                  <a:cxn ang="0">
                    <a:pos x="465" y="1264"/>
                  </a:cxn>
                  <a:cxn ang="0">
                    <a:pos x="477" y="1224"/>
                  </a:cxn>
                  <a:cxn ang="0">
                    <a:pos x="484" y="1174"/>
                  </a:cxn>
                  <a:cxn ang="0">
                    <a:pos x="484" y="1114"/>
                  </a:cxn>
                  <a:cxn ang="0">
                    <a:pos x="485" y="1078"/>
                  </a:cxn>
                  <a:cxn ang="0">
                    <a:pos x="495" y="1066"/>
                  </a:cxn>
                  <a:cxn ang="0">
                    <a:pos x="511" y="1061"/>
                  </a:cxn>
                  <a:cxn ang="0">
                    <a:pos x="580" y="1052"/>
                  </a:cxn>
                  <a:cxn ang="0">
                    <a:pos x="601" y="1040"/>
                  </a:cxn>
                  <a:cxn ang="0">
                    <a:pos x="619" y="1018"/>
                  </a:cxn>
                  <a:cxn ang="0">
                    <a:pos x="631" y="983"/>
                  </a:cxn>
                  <a:cxn ang="0">
                    <a:pos x="635" y="932"/>
                  </a:cxn>
                  <a:cxn ang="0">
                    <a:pos x="630" y="860"/>
                  </a:cxn>
                  <a:cxn ang="0">
                    <a:pos x="598" y="848"/>
                  </a:cxn>
                  <a:cxn ang="0">
                    <a:pos x="524" y="795"/>
                  </a:cxn>
                  <a:cxn ang="0">
                    <a:pos x="451" y="735"/>
                  </a:cxn>
                  <a:cxn ang="0">
                    <a:pos x="419" y="713"/>
                  </a:cxn>
                  <a:cxn ang="0">
                    <a:pos x="394" y="710"/>
                  </a:cxn>
                  <a:cxn ang="0">
                    <a:pos x="351" y="690"/>
                  </a:cxn>
                  <a:cxn ang="0">
                    <a:pos x="320" y="664"/>
                  </a:cxn>
                  <a:cxn ang="0">
                    <a:pos x="315" y="651"/>
                  </a:cxn>
                  <a:cxn ang="0">
                    <a:pos x="325" y="624"/>
                  </a:cxn>
                  <a:cxn ang="0">
                    <a:pos x="373" y="535"/>
                  </a:cxn>
                  <a:cxn ang="0">
                    <a:pos x="433" y="447"/>
                  </a:cxn>
                  <a:cxn ang="0">
                    <a:pos x="462" y="420"/>
                  </a:cxn>
                  <a:cxn ang="0">
                    <a:pos x="386" y="346"/>
                  </a:cxn>
                  <a:cxn ang="0">
                    <a:pos x="367" y="316"/>
                  </a:cxn>
                  <a:cxn ang="0">
                    <a:pos x="357" y="285"/>
                  </a:cxn>
                  <a:cxn ang="0">
                    <a:pos x="361" y="254"/>
                  </a:cxn>
                  <a:cxn ang="0">
                    <a:pos x="376" y="225"/>
                  </a:cxn>
                  <a:cxn ang="0">
                    <a:pos x="391" y="212"/>
                  </a:cxn>
                  <a:cxn ang="0">
                    <a:pos x="399" y="105"/>
                  </a:cxn>
                  <a:cxn ang="0">
                    <a:pos x="364" y="97"/>
                  </a:cxn>
                  <a:cxn ang="0">
                    <a:pos x="278" y="60"/>
                  </a:cxn>
                  <a:cxn ang="0">
                    <a:pos x="205" y="18"/>
                  </a:cxn>
                  <a:cxn ang="0">
                    <a:pos x="188" y="0"/>
                  </a:cxn>
                  <a:cxn ang="0">
                    <a:pos x="156" y="55"/>
                  </a:cxn>
                  <a:cxn ang="0">
                    <a:pos x="121" y="139"/>
                  </a:cxn>
                  <a:cxn ang="0">
                    <a:pos x="94" y="238"/>
                  </a:cxn>
                  <a:cxn ang="0">
                    <a:pos x="83" y="310"/>
                  </a:cxn>
                  <a:cxn ang="0">
                    <a:pos x="76" y="390"/>
                  </a:cxn>
                  <a:cxn ang="0">
                    <a:pos x="78" y="481"/>
                  </a:cxn>
                  <a:cxn ang="0">
                    <a:pos x="76" y="558"/>
                  </a:cxn>
                  <a:cxn ang="0">
                    <a:pos x="59" y="598"/>
                  </a:cxn>
                  <a:cxn ang="0">
                    <a:pos x="34" y="687"/>
                  </a:cxn>
                  <a:cxn ang="0">
                    <a:pos x="14" y="737"/>
                  </a:cxn>
                  <a:cxn ang="0">
                    <a:pos x="38" y="794"/>
                  </a:cxn>
                  <a:cxn ang="0">
                    <a:pos x="132" y="905"/>
                  </a:cxn>
                  <a:cxn ang="0">
                    <a:pos x="169" y="960"/>
                  </a:cxn>
                  <a:cxn ang="0">
                    <a:pos x="202" y="1017"/>
                  </a:cxn>
                  <a:cxn ang="0">
                    <a:pos x="229" y="1077"/>
                  </a:cxn>
                  <a:cxn ang="0">
                    <a:pos x="252" y="1141"/>
                  </a:cxn>
                  <a:cxn ang="0">
                    <a:pos x="288" y="1288"/>
                  </a:cxn>
                  <a:cxn ang="0">
                    <a:pos x="315" y="1468"/>
                  </a:cxn>
                </a:cxnLst>
                <a:rect l="0" t="0" r="r" b="b"/>
                <a:pathLst>
                  <a:path w="635" h="1468">
                    <a:moveTo>
                      <a:pt x="315" y="1468"/>
                    </a:moveTo>
                    <a:lnTo>
                      <a:pt x="320" y="1457"/>
                    </a:lnTo>
                    <a:lnTo>
                      <a:pt x="327" y="1447"/>
                    </a:lnTo>
                    <a:lnTo>
                      <a:pt x="333" y="1437"/>
                    </a:lnTo>
                    <a:lnTo>
                      <a:pt x="341" y="1427"/>
                    </a:lnTo>
                    <a:lnTo>
                      <a:pt x="355" y="1408"/>
                    </a:lnTo>
                    <a:lnTo>
                      <a:pt x="370" y="1392"/>
                    </a:lnTo>
                    <a:lnTo>
                      <a:pt x="401" y="1360"/>
                    </a:lnTo>
                    <a:lnTo>
                      <a:pt x="430" y="1327"/>
                    </a:lnTo>
                    <a:lnTo>
                      <a:pt x="437" y="1318"/>
                    </a:lnTo>
                    <a:lnTo>
                      <a:pt x="443" y="1308"/>
                    </a:lnTo>
                    <a:lnTo>
                      <a:pt x="449" y="1298"/>
                    </a:lnTo>
                    <a:lnTo>
                      <a:pt x="455" y="1288"/>
                    </a:lnTo>
                    <a:lnTo>
                      <a:pt x="461" y="1276"/>
                    </a:lnTo>
                    <a:lnTo>
                      <a:pt x="465" y="1264"/>
                    </a:lnTo>
                    <a:lnTo>
                      <a:pt x="470" y="1252"/>
                    </a:lnTo>
                    <a:lnTo>
                      <a:pt x="474" y="1238"/>
                    </a:lnTo>
                    <a:lnTo>
                      <a:pt x="477" y="1224"/>
                    </a:lnTo>
                    <a:lnTo>
                      <a:pt x="481" y="1209"/>
                    </a:lnTo>
                    <a:lnTo>
                      <a:pt x="483" y="1193"/>
                    </a:lnTo>
                    <a:lnTo>
                      <a:pt x="484" y="1174"/>
                    </a:lnTo>
                    <a:lnTo>
                      <a:pt x="485" y="1155"/>
                    </a:lnTo>
                    <a:lnTo>
                      <a:pt x="485" y="1136"/>
                    </a:lnTo>
                    <a:lnTo>
                      <a:pt x="484" y="1114"/>
                    </a:lnTo>
                    <a:lnTo>
                      <a:pt x="483" y="1091"/>
                    </a:lnTo>
                    <a:lnTo>
                      <a:pt x="483" y="1084"/>
                    </a:lnTo>
                    <a:lnTo>
                      <a:pt x="485" y="1078"/>
                    </a:lnTo>
                    <a:lnTo>
                      <a:pt x="487" y="1073"/>
                    </a:lnTo>
                    <a:lnTo>
                      <a:pt x="490" y="1069"/>
                    </a:lnTo>
                    <a:lnTo>
                      <a:pt x="495" y="1066"/>
                    </a:lnTo>
                    <a:lnTo>
                      <a:pt x="499" y="1064"/>
                    </a:lnTo>
                    <a:lnTo>
                      <a:pt x="506" y="1062"/>
                    </a:lnTo>
                    <a:lnTo>
                      <a:pt x="511" y="1061"/>
                    </a:lnTo>
                    <a:lnTo>
                      <a:pt x="540" y="1058"/>
                    </a:lnTo>
                    <a:lnTo>
                      <a:pt x="572" y="1054"/>
                    </a:lnTo>
                    <a:lnTo>
                      <a:pt x="580" y="1052"/>
                    </a:lnTo>
                    <a:lnTo>
                      <a:pt x="587" y="1049"/>
                    </a:lnTo>
                    <a:lnTo>
                      <a:pt x="594" y="1045"/>
                    </a:lnTo>
                    <a:lnTo>
                      <a:pt x="601" y="1040"/>
                    </a:lnTo>
                    <a:lnTo>
                      <a:pt x="608" y="1034"/>
                    </a:lnTo>
                    <a:lnTo>
                      <a:pt x="613" y="1027"/>
                    </a:lnTo>
                    <a:lnTo>
                      <a:pt x="619" y="1018"/>
                    </a:lnTo>
                    <a:lnTo>
                      <a:pt x="624" y="1008"/>
                    </a:lnTo>
                    <a:lnTo>
                      <a:pt x="628" y="996"/>
                    </a:lnTo>
                    <a:lnTo>
                      <a:pt x="631" y="983"/>
                    </a:lnTo>
                    <a:lnTo>
                      <a:pt x="633" y="968"/>
                    </a:lnTo>
                    <a:lnTo>
                      <a:pt x="635" y="951"/>
                    </a:lnTo>
                    <a:lnTo>
                      <a:pt x="635" y="932"/>
                    </a:lnTo>
                    <a:lnTo>
                      <a:pt x="634" y="910"/>
                    </a:lnTo>
                    <a:lnTo>
                      <a:pt x="632" y="886"/>
                    </a:lnTo>
                    <a:lnTo>
                      <a:pt x="630" y="860"/>
                    </a:lnTo>
                    <a:lnTo>
                      <a:pt x="620" y="859"/>
                    </a:lnTo>
                    <a:lnTo>
                      <a:pt x="610" y="855"/>
                    </a:lnTo>
                    <a:lnTo>
                      <a:pt x="598" y="848"/>
                    </a:lnTo>
                    <a:lnTo>
                      <a:pt x="585" y="840"/>
                    </a:lnTo>
                    <a:lnTo>
                      <a:pt x="556" y="820"/>
                    </a:lnTo>
                    <a:lnTo>
                      <a:pt x="524" y="795"/>
                    </a:lnTo>
                    <a:lnTo>
                      <a:pt x="494" y="770"/>
                    </a:lnTo>
                    <a:lnTo>
                      <a:pt x="464" y="746"/>
                    </a:lnTo>
                    <a:lnTo>
                      <a:pt x="451" y="735"/>
                    </a:lnTo>
                    <a:lnTo>
                      <a:pt x="439" y="726"/>
                    </a:lnTo>
                    <a:lnTo>
                      <a:pt x="428" y="718"/>
                    </a:lnTo>
                    <a:lnTo>
                      <a:pt x="419" y="713"/>
                    </a:lnTo>
                    <a:lnTo>
                      <a:pt x="412" y="713"/>
                    </a:lnTo>
                    <a:lnTo>
                      <a:pt x="403" y="712"/>
                    </a:lnTo>
                    <a:lnTo>
                      <a:pt x="394" y="710"/>
                    </a:lnTo>
                    <a:lnTo>
                      <a:pt x="386" y="706"/>
                    </a:lnTo>
                    <a:lnTo>
                      <a:pt x="368" y="699"/>
                    </a:lnTo>
                    <a:lnTo>
                      <a:pt x="351" y="690"/>
                    </a:lnTo>
                    <a:lnTo>
                      <a:pt x="337" y="679"/>
                    </a:lnTo>
                    <a:lnTo>
                      <a:pt x="325" y="669"/>
                    </a:lnTo>
                    <a:lnTo>
                      <a:pt x="320" y="664"/>
                    </a:lnTo>
                    <a:lnTo>
                      <a:pt x="317" y="660"/>
                    </a:lnTo>
                    <a:lnTo>
                      <a:pt x="315" y="654"/>
                    </a:lnTo>
                    <a:lnTo>
                      <a:pt x="315" y="651"/>
                    </a:lnTo>
                    <a:lnTo>
                      <a:pt x="316" y="644"/>
                    </a:lnTo>
                    <a:lnTo>
                      <a:pt x="319" y="636"/>
                    </a:lnTo>
                    <a:lnTo>
                      <a:pt x="325" y="624"/>
                    </a:lnTo>
                    <a:lnTo>
                      <a:pt x="331" y="608"/>
                    </a:lnTo>
                    <a:lnTo>
                      <a:pt x="350" y="573"/>
                    </a:lnTo>
                    <a:lnTo>
                      <a:pt x="373" y="535"/>
                    </a:lnTo>
                    <a:lnTo>
                      <a:pt x="397" y="496"/>
                    </a:lnTo>
                    <a:lnTo>
                      <a:pt x="421" y="461"/>
                    </a:lnTo>
                    <a:lnTo>
                      <a:pt x="433" y="447"/>
                    </a:lnTo>
                    <a:lnTo>
                      <a:pt x="443" y="435"/>
                    </a:lnTo>
                    <a:lnTo>
                      <a:pt x="453" y="425"/>
                    </a:lnTo>
                    <a:lnTo>
                      <a:pt x="462" y="420"/>
                    </a:lnTo>
                    <a:lnTo>
                      <a:pt x="427" y="388"/>
                    </a:lnTo>
                    <a:lnTo>
                      <a:pt x="393" y="354"/>
                    </a:lnTo>
                    <a:lnTo>
                      <a:pt x="386" y="346"/>
                    </a:lnTo>
                    <a:lnTo>
                      <a:pt x="379" y="336"/>
                    </a:lnTo>
                    <a:lnTo>
                      <a:pt x="373" y="326"/>
                    </a:lnTo>
                    <a:lnTo>
                      <a:pt x="367" y="316"/>
                    </a:lnTo>
                    <a:lnTo>
                      <a:pt x="363" y="306"/>
                    </a:lnTo>
                    <a:lnTo>
                      <a:pt x="360" y="295"/>
                    </a:lnTo>
                    <a:lnTo>
                      <a:pt x="357" y="285"/>
                    </a:lnTo>
                    <a:lnTo>
                      <a:pt x="356" y="273"/>
                    </a:lnTo>
                    <a:lnTo>
                      <a:pt x="357" y="264"/>
                    </a:lnTo>
                    <a:lnTo>
                      <a:pt x="361" y="254"/>
                    </a:lnTo>
                    <a:lnTo>
                      <a:pt x="364" y="243"/>
                    </a:lnTo>
                    <a:lnTo>
                      <a:pt x="369" y="233"/>
                    </a:lnTo>
                    <a:lnTo>
                      <a:pt x="376" y="225"/>
                    </a:lnTo>
                    <a:lnTo>
                      <a:pt x="384" y="217"/>
                    </a:lnTo>
                    <a:lnTo>
                      <a:pt x="387" y="214"/>
                    </a:lnTo>
                    <a:lnTo>
                      <a:pt x="391" y="212"/>
                    </a:lnTo>
                    <a:lnTo>
                      <a:pt x="394" y="210"/>
                    </a:lnTo>
                    <a:lnTo>
                      <a:pt x="399" y="209"/>
                    </a:lnTo>
                    <a:lnTo>
                      <a:pt x="399" y="105"/>
                    </a:lnTo>
                    <a:lnTo>
                      <a:pt x="389" y="104"/>
                    </a:lnTo>
                    <a:lnTo>
                      <a:pt x="377" y="101"/>
                    </a:lnTo>
                    <a:lnTo>
                      <a:pt x="364" y="97"/>
                    </a:lnTo>
                    <a:lnTo>
                      <a:pt x="348" y="92"/>
                    </a:lnTo>
                    <a:lnTo>
                      <a:pt x="314" y="77"/>
                    </a:lnTo>
                    <a:lnTo>
                      <a:pt x="278" y="60"/>
                    </a:lnTo>
                    <a:lnTo>
                      <a:pt x="244" y="43"/>
                    </a:lnTo>
                    <a:lnTo>
                      <a:pt x="216" y="25"/>
                    </a:lnTo>
                    <a:lnTo>
                      <a:pt x="205" y="18"/>
                    </a:lnTo>
                    <a:lnTo>
                      <a:pt x="196" y="11"/>
                    </a:lnTo>
                    <a:lnTo>
                      <a:pt x="191" y="4"/>
                    </a:lnTo>
                    <a:lnTo>
                      <a:pt x="188" y="0"/>
                    </a:lnTo>
                    <a:lnTo>
                      <a:pt x="183" y="9"/>
                    </a:lnTo>
                    <a:lnTo>
                      <a:pt x="167" y="35"/>
                    </a:lnTo>
                    <a:lnTo>
                      <a:pt x="156" y="55"/>
                    </a:lnTo>
                    <a:lnTo>
                      <a:pt x="145" y="79"/>
                    </a:lnTo>
                    <a:lnTo>
                      <a:pt x="133" y="107"/>
                    </a:lnTo>
                    <a:lnTo>
                      <a:pt x="121" y="139"/>
                    </a:lnTo>
                    <a:lnTo>
                      <a:pt x="109" y="176"/>
                    </a:lnTo>
                    <a:lnTo>
                      <a:pt x="99" y="216"/>
                    </a:lnTo>
                    <a:lnTo>
                      <a:pt x="94" y="238"/>
                    </a:lnTo>
                    <a:lnTo>
                      <a:pt x="89" y="261"/>
                    </a:lnTo>
                    <a:lnTo>
                      <a:pt x="86" y="285"/>
                    </a:lnTo>
                    <a:lnTo>
                      <a:pt x="83" y="310"/>
                    </a:lnTo>
                    <a:lnTo>
                      <a:pt x="79" y="336"/>
                    </a:lnTo>
                    <a:lnTo>
                      <a:pt x="78" y="363"/>
                    </a:lnTo>
                    <a:lnTo>
                      <a:pt x="76" y="390"/>
                    </a:lnTo>
                    <a:lnTo>
                      <a:pt x="76" y="420"/>
                    </a:lnTo>
                    <a:lnTo>
                      <a:pt x="76" y="449"/>
                    </a:lnTo>
                    <a:lnTo>
                      <a:pt x="78" y="481"/>
                    </a:lnTo>
                    <a:lnTo>
                      <a:pt x="81" y="512"/>
                    </a:lnTo>
                    <a:lnTo>
                      <a:pt x="84" y="545"/>
                    </a:lnTo>
                    <a:lnTo>
                      <a:pt x="76" y="558"/>
                    </a:lnTo>
                    <a:lnTo>
                      <a:pt x="70" y="571"/>
                    </a:lnTo>
                    <a:lnTo>
                      <a:pt x="64" y="584"/>
                    </a:lnTo>
                    <a:lnTo>
                      <a:pt x="59" y="598"/>
                    </a:lnTo>
                    <a:lnTo>
                      <a:pt x="50" y="629"/>
                    </a:lnTo>
                    <a:lnTo>
                      <a:pt x="41" y="658"/>
                    </a:lnTo>
                    <a:lnTo>
                      <a:pt x="34" y="687"/>
                    </a:lnTo>
                    <a:lnTo>
                      <a:pt x="25" y="714"/>
                    </a:lnTo>
                    <a:lnTo>
                      <a:pt x="20" y="726"/>
                    </a:lnTo>
                    <a:lnTo>
                      <a:pt x="14" y="737"/>
                    </a:lnTo>
                    <a:lnTo>
                      <a:pt x="8" y="747"/>
                    </a:lnTo>
                    <a:lnTo>
                      <a:pt x="0" y="755"/>
                    </a:lnTo>
                    <a:lnTo>
                      <a:pt x="38" y="794"/>
                    </a:lnTo>
                    <a:lnTo>
                      <a:pt x="72" y="832"/>
                    </a:lnTo>
                    <a:lnTo>
                      <a:pt x="103" y="869"/>
                    </a:lnTo>
                    <a:lnTo>
                      <a:pt x="132" y="905"/>
                    </a:lnTo>
                    <a:lnTo>
                      <a:pt x="145" y="923"/>
                    </a:lnTo>
                    <a:lnTo>
                      <a:pt x="158" y="942"/>
                    </a:lnTo>
                    <a:lnTo>
                      <a:pt x="169" y="960"/>
                    </a:lnTo>
                    <a:lnTo>
                      <a:pt x="181" y="979"/>
                    </a:lnTo>
                    <a:lnTo>
                      <a:pt x="192" y="999"/>
                    </a:lnTo>
                    <a:lnTo>
                      <a:pt x="202" y="1017"/>
                    </a:lnTo>
                    <a:lnTo>
                      <a:pt x="211" y="1037"/>
                    </a:lnTo>
                    <a:lnTo>
                      <a:pt x="220" y="1057"/>
                    </a:lnTo>
                    <a:lnTo>
                      <a:pt x="229" y="1077"/>
                    </a:lnTo>
                    <a:lnTo>
                      <a:pt x="236" y="1098"/>
                    </a:lnTo>
                    <a:lnTo>
                      <a:pt x="245" y="1120"/>
                    </a:lnTo>
                    <a:lnTo>
                      <a:pt x="252" y="1141"/>
                    </a:lnTo>
                    <a:lnTo>
                      <a:pt x="265" y="1187"/>
                    </a:lnTo>
                    <a:lnTo>
                      <a:pt x="277" y="1236"/>
                    </a:lnTo>
                    <a:lnTo>
                      <a:pt x="288" y="1288"/>
                    </a:lnTo>
                    <a:lnTo>
                      <a:pt x="297" y="1344"/>
                    </a:lnTo>
                    <a:lnTo>
                      <a:pt x="306" y="1404"/>
                    </a:lnTo>
                    <a:lnTo>
                      <a:pt x="315" y="1468"/>
                    </a:lnTo>
                  </a:path>
                </a:pathLst>
              </a:custGeom>
              <a:noFill/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078555" name="Freeform 283"/>
              <p:cNvSpPr>
                <a:spLocks/>
              </p:cNvSpPr>
              <p:nvPr/>
            </p:nvSpPr>
            <p:spPr bwMode="auto">
              <a:xfrm>
                <a:off x="2511" y="709"/>
                <a:ext cx="759" cy="759"/>
              </a:xfrm>
              <a:custGeom>
                <a:avLst/>
                <a:gdLst/>
                <a:ahLst/>
                <a:cxnLst>
                  <a:cxn ang="0">
                    <a:pos x="2090" y="3786"/>
                  </a:cxn>
                  <a:cxn ang="0">
                    <a:pos x="2370" y="3735"/>
                  </a:cxn>
                  <a:cxn ang="0">
                    <a:pos x="2634" y="3646"/>
                  </a:cxn>
                  <a:cxn ang="0">
                    <a:pos x="2879" y="3520"/>
                  </a:cxn>
                  <a:cxn ang="0">
                    <a:pos x="3103" y="3360"/>
                  </a:cxn>
                  <a:cxn ang="0">
                    <a:pos x="3300" y="3172"/>
                  </a:cxn>
                  <a:cxn ang="0">
                    <a:pos x="3470" y="2957"/>
                  </a:cxn>
                  <a:cxn ang="0">
                    <a:pos x="3606" y="2720"/>
                  </a:cxn>
                  <a:cxn ang="0">
                    <a:pos x="3708" y="2461"/>
                  </a:cxn>
                  <a:cxn ang="0">
                    <a:pos x="3772" y="2185"/>
                  </a:cxn>
                  <a:cxn ang="0">
                    <a:pos x="3795" y="1898"/>
                  </a:cxn>
                  <a:cxn ang="0">
                    <a:pos x="3772" y="1609"/>
                  </a:cxn>
                  <a:cxn ang="0">
                    <a:pos x="3708" y="1334"/>
                  </a:cxn>
                  <a:cxn ang="0">
                    <a:pos x="3606" y="1076"/>
                  </a:cxn>
                  <a:cxn ang="0">
                    <a:pos x="3470" y="838"/>
                  </a:cxn>
                  <a:cxn ang="0">
                    <a:pos x="3300" y="622"/>
                  </a:cxn>
                  <a:cxn ang="0">
                    <a:pos x="3103" y="434"/>
                  </a:cxn>
                  <a:cxn ang="0">
                    <a:pos x="2879" y="276"/>
                  </a:cxn>
                  <a:cxn ang="0">
                    <a:pos x="2634" y="149"/>
                  </a:cxn>
                  <a:cxn ang="0">
                    <a:pos x="2370" y="60"/>
                  </a:cxn>
                  <a:cxn ang="0">
                    <a:pos x="2090" y="10"/>
                  </a:cxn>
                  <a:cxn ang="0">
                    <a:pos x="1799" y="2"/>
                  </a:cxn>
                  <a:cxn ang="0">
                    <a:pos x="1516" y="38"/>
                  </a:cxn>
                  <a:cxn ang="0">
                    <a:pos x="1245" y="116"/>
                  </a:cxn>
                  <a:cxn ang="0">
                    <a:pos x="994" y="230"/>
                  </a:cxn>
                  <a:cxn ang="0">
                    <a:pos x="763" y="378"/>
                  </a:cxn>
                  <a:cxn ang="0">
                    <a:pos x="557" y="557"/>
                  </a:cxn>
                  <a:cxn ang="0">
                    <a:pos x="377" y="763"/>
                  </a:cxn>
                  <a:cxn ang="0">
                    <a:pos x="229" y="994"/>
                  </a:cxn>
                  <a:cxn ang="0">
                    <a:pos x="115" y="1246"/>
                  </a:cxn>
                  <a:cxn ang="0">
                    <a:pos x="38" y="1516"/>
                  </a:cxn>
                  <a:cxn ang="0">
                    <a:pos x="2" y="1801"/>
                  </a:cxn>
                  <a:cxn ang="0">
                    <a:pos x="10" y="2091"/>
                  </a:cxn>
                  <a:cxn ang="0">
                    <a:pos x="60" y="2371"/>
                  </a:cxn>
                  <a:cxn ang="0">
                    <a:pos x="149" y="2635"/>
                  </a:cxn>
                  <a:cxn ang="0">
                    <a:pos x="274" y="2880"/>
                  </a:cxn>
                  <a:cxn ang="0">
                    <a:pos x="434" y="3103"/>
                  </a:cxn>
                  <a:cxn ang="0">
                    <a:pos x="622" y="3302"/>
                  </a:cxn>
                  <a:cxn ang="0">
                    <a:pos x="837" y="3471"/>
                  </a:cxn>
                  <a:cxn ang="0">
                    <a:pos x="1075" y="3608"/>
                  </a:cxn>
                  <a:cxn ang="0">
                    <a:pos x="1334" y="3709"/>
                  </a:cxn>
                  <a:cxn ang="0">
                    <a:pos x="1608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4" y="3793"/>
                    </a:lnTo>
                    <a:lnTo>
                      <a:pt x="2090" y="3786"/>
                    </a:lnTo>
                    <a:lnTo>
                      <a:pt x="2185" y="3774"/>
                    </a:lnTo>
                    <a:lnTo>
                      <a:pt x="2279" y="3756"/>
                    </a:lnTo>
                    <a:lnTo>
                      <a:pt x="2370" y="3735"/>
                    </a:lnTo>
                    <a:lnTo>
                      <a:pt x="2460" y="3709"/>
                    </a:lnTo>
                    <a:lnTo>
                      <a:pt x="2548" y="3680"/>
                    </a:lnTo>
                    <a:lnTo>
                      <a:pt x="2634" y="3646"/>
                    </a:lnTo>
                    <a:lnTo>
                      <a:pt x="2718" y="3608"/>
                    </a:lnTo>
                    <a:lnTo>
                      <a:pt x="2800" y="3565"/>
                    </a:lnTo>
                    <a:lnTo>
                      <a:pt x="2879" y="3520"/>
                    </a:lnTo>
                    <a:lnTo>
                      <a:pt x="2956" y="3471"/>
                    </a:lnTo>
                    <a:lnTo>
                      <a:pt x="3031" y="3417"/>
                    </a:lnTo>
                    <a:lnTo>
                      <a:pt x="3103" y="3360"/>
                    </a:lnTo>
                    <a:lnTo>
                      <a:pt x="3171" y="3302"/>
                    </a:lnTo>
                    <a:lnTo>
                      <a:pt x="3238" y="3238"/>
                    </a:lnTo>
                    <a:lnTo>
                      <a:pt x="3300" y="3172"/>
                    </a:lnTo>
                    <a:lnTo>
                      <a:pt x="3360" y="3103"/>
                    </a:lnTo>
                    <a:lnTo>
                      <a:pt x="3416" y="3031"/>
                    </a:lnTo>
                    <a:lnTo>
                      <a:pt x="3470" y="2957"/>
                    </a:lnTo>
                    <a:lnTo>
                      <a:pt x="3519" y="2880"/>
                    </a:lnTo>
                    <a:lnTo>
                      <a:pt x="3565" y="2801"/>
                    </a:lnTo>
                    <a:lnTo>
                      <a:pt x="3606" y="2720"/>
                    </a:lnTo>
                    <a:lnTo>
                      <a:pt x="3644" y="2635"/>
                    </a:lnTo>
                    <a:lnTo>
                      <a:pt x="3679" y="2548"/>
                    </a:lnTo>
                    <a:lnTo>
                      <a:pt x="3708" y="2461"/>
                    </a:lnTo>
                    <a:lnTo>
                      <a:pt x="3735" y="2371"/>
                    </a:lnTo>
                    <a:lnTo>
                      <a:pt x="3755" y="2279"/>
                    </a:lnTo>
                    <a:lnTo>
                      <a:pt x="3772" y="2185"/>
                    </a:lnTo>
                    <a:lnTo>
                      <a:pt x="3785" y="2091"/>
                    </a:lnTo>
                    <a:lnTo>
                      <a:pt x="3791" y="1995"/>
                    </a:lnTo>
                    <a:lnTo>
                      <a:pt x="3795" y="1898"/>
                    </a:lnTo>
                    <a:lnTo>
                      <a:pt x="3791" y="1801"/>
                    </a:lnTo>
                    <a:lnTo>
                      <a:pt x="3785" y="1704"/>
                    </a:lnTo>
                    <a:lnTo>
                      <a:pt x="3772" y="1609"/>
                    </a:lnTo>
                    <a:lnTo>
                      <a:pt x="3755" y="1516"/>
                    </a:lnTo>
                    <a:lnTo>
                      <a:pt x="3735" y="1425"/>
                    </a:lnTo>
                    <a:lnTo>
                      <a:pt x="3708" y="1334"/>
                    </a:lnTo>
                    <a:lnTo>
                      <a:pt x="3679" y="1246"/>
                    </a:lnTo>
                    <a:lnTo>
                      <a:pt x="3644" y="1160"/>
                    </a:lnTo>
                    <a:lnTo>
                      <a:pt x="3606" y="1076"/>
                    </a:lnTo>
                    <a:lnTo>
                      <a:pt x="3565" y="994"/>
                    </a:lnTo>
                    <a:lnTo>
                      <a:pt x="3519" y="915"/>
                    </a:lnTo>
                    <a:lnTo>
                      <a:pt x="3470" y="838"/>
                    </a:lnTo>
                    <a:lnTo>
                      <a:pt x="3416" y="763"/>
                    </a:lnTo>
                    <a:lnTo>
                      <a:pt x="3360" y="692"/>
                    </a:lnTo>
                    <a:lnTo>
                      <a:pt x="3300" y="622"/>
                    </a:lnTo>
                    <a:lnTo>
                      <a:pt x="3238" y="557"/>
                    </a:lnTo>
                    <a:lnTo>
                      <a:pt x="3171" y="494"/>
                    </a:lnTo>
                    <a:lnTo>
                      <a:pt x="3103" y="434"/>
                    </a:lnTo>
                    <a:lnTo>
                      <a:pt x="3031" y="378"/>
                    </a:lnTo>
                    <a:lnTo>
                      <a:pt x="2956" y="325"/>
                    </a:lnTo>
                    <a:lnTo>
                      <a:pt x="2879" y="276"/>
                    </a:lnTo>
                    <a:lnTo>
                      <a:pt x="2800" y="230"/>
                    </a:lnTo>
                    <a:lnTo>
                      <a:pt x="2718" y="187"/>
                    </a:lnTo>
                    <a:lnTo>
                      <a:pt x="2634" y="149"/>
                    </a:lnTo>
                    <a:lnTo>
                      <a:pt x="2548" y="116"/>
                    </a:lnTo>
                    <a:lnTo>
                      <a:pt x="2460" y="85"/>
                    </a:lnTo>
                    <a:lnTo>
                      <a:pt x="2370" y="60"/>
                    </a:lnTo>
                    <a:lnTo>
                      <a:pt x="2279" y="38"/>
                    </a:lnTo>
                    <a:lnTo>
                      <a:pt x="2185" y="22"/>
                    </a:lnTo>
                    <a:lnTo>
                      <a:pt x="2090" y="10"/>
                    </a:lnTo>
                    <a:lnTo>
                      <a:pt x="1994" y="2"/>
                    </a:lnTo>
                    <a:lnTo>
                      <a:pt x="1897" y="0"/>
                    </a:lnTo>
                    <a:lnTo>
                      <a:pt x="1799" y="2"/>
                    </a:lnTo>
                    <a:lnTo>
                      <a:pt x="1703" y="10"/>
                    </a:lnTo>
                    <a:lnTo>
                      <a:pt x="1608" y="22"/>
                    </a:lnTo>
                    <a:lnTo>
                      <a:pt x="1516" y="38"/>
                    </a:lnTo>
                    <a:lnTo>
                      <a:pt x="1423" y="60"/>
                    </a:lnTo>
                    <a:lnTo>
                      <a:pt x="1334" y="85"/>
                    </a:lnTo>
                    <a:lnTo>
                      <a:pt x="1245" y="116"/>
                    </a:lnTo>
                    <a:lnTo>
                      <a:pt x="1159" y="149"/>
                    </a:lnTo>
                    <a:lnTo>
                      <a:pt x="1075" y="187"/>
                    </a:lnTo>
                    <a:lnTo>
                      <a:pt x="994" y="230"/>
                    </a:lnTo>
                    <a:lnTo>
                      <a:pt x="914" y="276"/>
                    </a:lnTo>
                    <a:lnTo>
                      <a:pt x="837" y="325"/>
                    </a:lnTo>
                    <a:lnTo>
                      <a:pt x="763" y="378"/>
                    </a:lnTo>
                    <a:lnTo>
                      <a:pt x="691" y="434"/>
                    </a:lnTo>
                    <a:lnTo>
                      <a:pt x="622" y="494"/>
                    </a:lnTo>
                    <a:lnTo>
                      <a:pt x="557" y="557"/>
                    </a:lnTo>
                    <a:lnTo>
                      <a:pt x="494" y="622"/>
                    </a:lnTo>
                    <a:lnTo>
                      <a:pt x="434" y="692"/>
                    </a:lnTo>
                    <a:lnTo>
                      <a:pt x="377" y="763"/>
                    </a:lnTo>
                    <a:lnTo>
                      <a:pt x="325" y="838"/>
                    </a:lnTo>
                    <a:lnTo>
                      <a:pt x="274" y="915"/>
                    </a:lnTo>
                    <a:lnTo>
                      <a:pt x="229" y="994"/>
                    </a:lnTo>
                    <a:lnTo>
                      <a:pt x="187" y="1076"/>
                    </a:lnTo>
                    <a:lnTo>
                      <a:pt x="149" y="1160"/>
                    </a:lnTo>
                    <a:lnTo>
                      <a:pt x="115" y="1246"/>
                    </a:lnTo>
                    <a:lnTo>
                      <a:pt x="85" y="1334"/>
                    </a:lnTo>
                    <a:lnTo>
                      <a:pt x="60" y="1425"/>
                    </a:lnTo>
                    <a:lnTo>
                      <a:pt x="38" y="1516"/>
                    </a:lnTo>
                    <a:lnTo>
                      <a:pt x="22" y="1609"/>
                    </a:lnTo>
                    <a:lnTo>
                      <a:pt x="10" y="1704"/>
                    </a:lnTo>
                    <a:lnTo>
                      <a:pt x="2" y="1801"/>
                    </a:lnTo>
                    <a:lnTo>
                      <a:pt x="0" y="1898"/>
                    </a:lnTo>
                    <a:lnTo>
                      <a:pt x="2" y="1995"/>
                    </a:lnTo>
                    <a:lnTo>
                      <a:pt x="10" y="2091"/>
                    </a:lnTo>
                    <a:lnTo>
                      <a:pt x="22" y="2185"/>
                    </a:lnTo>
                    <a:lnTo>
                      <a:pt x="38" y="2279"/>
                    </a:lnTo>
                    <a:lnTo>
                      <a:pt x="60" y="2371"/>
                    </a:lnTo>
                    <a:lnTo>
                      <a:pt x="85" y="2461"/>
                    </a:lnTo>
                    <a:lnTo>
                      <a:pt x="115" y="2548"/>
                    </a:lnTo>
                    <a:lnTo>
                      <a:pt x="149" y="2635"/>
                    </a:lnTo>
                    <a:lnTo>
                      <a:pt x="187" y="2720"/>
                    </a:lnTo>
                    <a:lnTo>
                      <a:pt x="229" y="2801"/>
                    </a:lnTo>
                    <a:lnTo>
                      <a:pt x="274" y="2880"/>
                    </a:lnTo>
                    <a:lnTo>
                      <a:pt x="325" y="2957"/>
                    </a:lnTo>
                    <a:lnTo>
                      <a:pt x="377" y="3031"/>
                    </a:lnTo>
                    <a:lnTo>
                      <a:pt x="434" y="3103"/>
                    </a:lnTo>
                    <a:lnTo>
                      <a:pt x="494" y="3172"/>
                    </a:lnTo>
                    <a:lnTo>
                      <a:pt x="557" y="3238"/>
                    </a:lnTo>
                    <a:lnTo>
                      <a:pt x="622" y="3302"/>
                    </a:lnTo>
                    <a:lnTo>
                      <a:pt x="691" y="3360"/>
                    </a:lnTo>
                    <a:lnTo>
                      <a:pt x="763" y="3417"/>
                    </a:lnTo>
                    <a:lnTo>
                      <a:pt x="837" y="3471"/>
                    </a:lnTo>
                    <a:lnTo>
                      <a:pt x="914" y="3520"/>
                    </a:lnTo>
                    <a:lnTo>
                      <a:pt x="994" y="3565"/>
                    </a:lnTo>
                    <a:lnTo>
                      <a:pt x="1075" y="3608"/>
                    </a:lnTo>
                    <a:lnTo>
                      <a:pt x="1159" y="3646"/>
                    </a:lnTo>
                    <a:lnTo>
                      <a:pt x="1245" y="3680"/>
                    </a:lnTo>
                    <a:lnTo>
                      <a:pt x="1334" y="3709"/>
                    </a:lnTo>
                    <a:lnTo>
                      <a:pt x="1423" y="3735"/>
                    </a:lnTo>
                    <a:lnTo>
                      <a:pt x="1516" y="3756"/>
                    </a:lnTo>
                    <a:lnTo>
                      <a:pt x="1608" y="3774"/>
                    </a:lnTo>
                    <a:lnTo>
                      <a:pt x="1703" y="3786"/>
                    </a:lnTo>
                    <a:lnTo>
                      <a:pt x="1799" y="3793"/>
                    </a:lnTo>
                    <a:lnTo>
                      <a:pt x="1897" y="3795"/>
                    </a:lnTo>
                  </a:path>
                </a:pathLst>
              </a:custGeom>
              <a:noFill/>
              <a:ln w="317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grpSp>
            <p:nvGrpSpPr>
              <p:cNvPr id="4" name="Group 284"/>
              <p:cNvGrpSpPr>
                <a:grpSpLocks/>
              </p:cNvGrpSpPr>
              <p:nvPr/>
            </p:nvGrpSpPr>
            <p:grpSpPr bwMode="auto">
              <a:xfrm>
                <a:off x="2490" y="1603"/>
                <a:ext cx="822" cy="759"/>
                <a:chOff x="2490" y="1603"/>
                <a:chExt cx="822" cy="759"/>
              </a:xfrm>
            </p:grpSpPr>
            <p:sp>
              <p:nvSpPr>
                <p:cNvPr id="1078557" name="Freeform 285"/>
                <p:cNvSpPr>
                  <a:spLocks/>
                </p:cNvSpPr>
                <p:nvPr/>
              </p:nvSpPr>
              <p:spPr bwMode="auto">
                <a:xfrm>
                  <a:off x="2511" y="1603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0" y="3785"/>
                    </a:cxn>
                    <a:cxn ang="0">
                      <a:pos x="2370" y="3735"/>
                    </a:cxn>
                    <a:cxn ang="0">
                      <a:pos x="2634" y="3646"/>
                    </a:cxn>
                    <a:cxn ang="0">
                      <a:pos x="2879" y="3520"/>
                    </a:cxn>
                    <a:cxn ang="0">
                      <a:pos x="3103" y="3361"/>
                    </a:cxn>
                    <a:cxn ang="0">
                      <a:pos x="3300" y="3173"/>
                    </a:cxn>
                    <a:cxn ang="0">
                      <a:pos x="3470" y="2957"/>
                    </a:cxn>
                    <a:cxn ang="0">
                      <a:pos x="3606" y="2719"/>
                    </a:cxn>
                    <a:cxn ang="0">
                      <a:pos x="3708" y="2461"/>
                    </a:cxn>
                    <a:cxn ang="0">
                      <a:pos x="3772" y="2185"/>
                    </a:cxn>
                    <a:cxn ang="0">
                      <a:pos x="3795" y="1898"/>
                    </a:cxn>
                    <a:cxn ang="0">
                      <a:pos x="3772" y="1609"/>
                    </a:cxn>
                    <a:cxn ang="0">
                      <a:pos x="3708" y="1334"/>
                    </a:cxn>
                    <a:cxn ang="0">
                      <a:pos x="3606" y="1076"/>
                    </a:cxn>
                    <a:cxn ang="0">
                      <a:pos x="3470" y="838"/>
                    </a:cxn>
                    <a:cxn ang="0">
                      <a:pos x="3300" y="622"/>
                    </a:cxn>
                    <a:cxn ang="0">
                      <a:pos x="3103" y="434"/>
                    </a:cxn>
                    <a:cxn ang="0">
                      <a:pos x="2879" y="276"/>
                    </a:cxn>
                    <a:cxn ang="0">
                      <a:pos x="2634" y="149"/>
                    </a:cxn>
                    <a:cxn ang="0">
                      <a:pos x="2370" y="60"/>
                    </a:cxn>
                    <a:cxn ang="0">
                      <a:pos x="2090" y="10"/>
                    </a:cxn>
                    <a:cxn ang="0">
                      <a:pos x="1799" y="2"/>
                    </a:cxn>
                    <a:cxn ang="0">
                      <a:pos x="1516" y="38"/>
                    </a:cxn>
                    <a:cxn ang="0">
                      <a:pos x="1245" y="115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7" y="763"/>
                    </a:cxn>
                    <a:cxn ang="0">
                      <a:pos x="229" y="994"/>
                    </a:cxn>
                    <a:cxn ang="0">
                      <a:pos x="115" y="1246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2"/>
                    </a:cxn>
                    <a:cxn ang="0">
                      <a:pos x="60" y="2371"/>
                    </a:cxn>
                    <a:cxn ang="0">
                      <a:pos x="149" y="2636"/>
                    </a:cxn>
                    <a:cxn ang="0">
                      <a:pos x="274" y="2881"/>
                    </a:cxn>
                    <a:cxn ang="0">
                      <a:pos x="434" y="3103"/>
                    </a:cxn>
                    <a:cxn ang="0">
                      <a:pos x="622" y="3302"/>
                    </a:cxn>
                    <a:cxn ang="0">
                      <a:pos x="837" y="3470"/>
                    </a:cxn>
                    <a:cxn ang="0">
                      <a:pos x="1075" y="3608"/>
                    </a:cxn>
                    <a:cxn ang="0">
                      <a:pos x="1334" y="3709"/>
                    </a:cxn>
                    <a:cxn ang="0">
                      <a:pos x="1608" y="3773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4" y="3793"/>
                      </a:lnTo>
                      <a:lnTo>
                        <a:pt x="2090" y="3785"/>
                      </a:lnTo>
                      <a:lnTo>
                        <a:pt x="2185" y="3773"/>
                      </a:lnTo>
                      <a:lnTo>
                        <a:pt x="2279" y="3756"/>
                      </a:lnTo>
                      <a:lnTo>
                        <a:pt x="2370" y="3735"/>
                      </a:lnTo>
                      <a:lnTo>
                        <a:pt x="2460" y="3709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8" y="3608"/>
                      </a:lnTo>
                      <a:lnTo>
                        <a:pt x="2800" y="3565"/>
                      </a:lnTo>
                      <a:lnTo>
                        <a:pt x="2879" y="3520"/>
                      </a:lnTo>
                      <a:lnTo>
                        <a:pt x="2956" y="3470"/>
                      </a:lnTo>
                      <a:lnTo>
                        <a:pt x="3031" y="3417"/>
                      </a:lnTo>
                      <a:lnTo>
                        <a:pt x="3103" y="3361"/>
                      </a:lnTo>
                      <a:lnTo>
                        <a:pt x="3171" y="3302"/>
                      </a:lnTo>
                      <a:lnTo>
                        <a:pt x="3238" y="3238"/>
                      </a:lnTo>
                      <a:lnTo>
                        <a:pt x="3300" y="3173"/>
                      </a:lnTo>
                      <a:lnTo>
                        <a:pt x="3360" y="3103"/>
                      </a:lnTo>
                      <a:lnTo>
                        <a:pt x="3416" y="3031"/>
                      </a:lnTo>
                      <a:lnTo>
                        <a:pt x="3470" y="2957"/>
                      </a:lnTo>
                      <a:lnTo>
                        <a:pt x="3519" y="2881"/>
                      </a:lnTo>
                      <a:lnTo>
                        <a:pt x="3565" y="2801"/>
                      </a:lnTo>
                      <a:lnTo>
                        <a:pt x="3606" y="2719"/>
                      </a:lnTo>
                      <a:lnTo>
                        <a:pt x="3644" y="2636"/>
                      </a:lnTo>
                      <a:lnTo>
                        <a:pt x="3679" y="2549"/>
                      </a:lnTo>
                      <a:lnTo>
                        <a:pt x="3708" y="2461"/>
                      </a:lnTo>
                      <a:lnTo>
                        <a:pt x="3735" y="2371"/>
                      </a:lnTo>
                      <a:lnTo>
                        <a:pt x="3755" y="2279"/>
                      </a:lnTo>
                      <a:lnTo>
                        <a:pt x="3772" y="2185"/>
                      </a:lnTo>
                      <a:lnTo>
                        <a:pt x="3785" y="2092"/>
                      </a:lnTo>
                      <a:lnTo>
                        <a:pt x="3791" y="1995"/>
                      </a:lnTo>
                      <a:lnTo>
                        <a:pt x="3795" y="1898"/>
                      </a:lnTo>
                      <a:lnTo>
                        <a:pt x="3791" y="1801"/>
                      </a:lnTo>
                      <a:lnTo>
                        <a:pt x="3785" y="1704"/>
                      </a:lnTo>
                      <a:lnTo>
                        <a:pt x="3772" y="1609"/>
                      </a:lnTo>
                      <a:lnTo>
                        <a:pt x="3755" y="1516"/>
                      </a:lnTo>
                      <a:lnTo>
                        <a:pt x="3735" y="1425"/>
                      </a:lnTo>
                      <a:lnTo>
                        <a:pt x="3708" y="1334"/>
                      </a:lnTo>
                      <a:lnTo>
                        <a:pt x="3679" y="1246"/>
                      </a:lnTo>
                      <a:lnTo>
                        <a:pt x="3644" y="1160"/>
                      </a:lnTo>
                      <a:lnTo>
                        <a:pt x="3606" y="1076"/>
                      </a:lnTo>
                      <a:lnTo>
                        <a:pt x="3565" y="994"/>
                      </a:lnTo>
                      <a:lnTo>
                        <a:pt x="3519" y="914"/>
                      </a:lnTo>
                      <a:lnTo>
                        <a:pt x="3470" y="838"/>
                      </a:lnTo>
                      <a:lnTo>
                        <a:pt x="3416" y="763"/>
                      </a:lnTo>
                      <a:lnTo>
                        <a:pt x="3360" y="692"/>
                      </a:lnTo>
                      <a:lnTo>
                        <a:pt x="3300" y="622"/>
                      </a:lnTo>
                      <a:lnTo>
                        <a:pt x="3238" y="557"/>
                      </a:lnTo>
                      <a:lnTo>
                        <a:pt x="3171" y="494"/>
                      </a:lnTo>
                      <a:lnTo>
                        <a:pt x="3103" y="434"/>
                      </a:lnTo>
                      <a:lnTo>
                        <a:pt x="3031" y="378"/>
                      </a:lnTo>
                      <a:lnTo>
                        <a:pt x="2956" y="325"/>
                      </a:lnTo>
                      <a:lnTo>
                        <a:pt x="2879" y="276"/>
                      </a:lnTo>
                      <a:lnTo>
                        <a:pt x="2800" y="230"/>
                      </a:lnTo>
                      <a:lnTo>
                        <a:pt x="2718" y="187"/>
                      </a:lnTo>
                      <a:lnTo>
                        <a:pt x="2634" y="149"/>
                      </a:lnTo>
                      <a:lnTo>
                        <a:pt x="2548" y="115"/>
                      </a:lnTo>
                      <a:lnTo>
                        <a:pt x="2460" y="85"/>
                      </a:lnTo>
                      <a:lnTo>
                        <a:pt x="2370" y="60"/>
                      </a:lnTo>
                      <a:lnTo>
                        <a:pt x="2279" y="38"/>
                      </a:lnTo>
                      <a:lnTo>
                        <a:pt x="2185" y="22"/>
                      </a:lnTo>
                      <a:lnTo>
                        <a:pt x="2090" y="10"/>
                      </a:lnTo>
                      <a:lnTo>
                        <a:pt x="1994" y="2"/>
                      </a:lnTo>
                      <a:lnTo>
                        <a:pt x="1897" y="0"/>
                      </a:lnTo>
                      <a:lnTo>
                        <a:pt x="1799" y="2"/>
                      </a:lnTo>
                      <a:lnTo>
                        <a:pt x="1703" y="10"/>
                      </a:lnTo>
                      <a:lnTo>
                        <a:pt x="1608" y="22"/>
                      </a:lnTo>
                      <a:lnTo>
                        <a:pt x="1516" y="38"/>
                      </a:lnTo>
                      <a:lnTo>
                        <a:pt x="1423" y="60"/>
                      </a:lnTo>
                      <a:lnTo>
                        <a:pt x="1334" y="85"/>
                      </a:lnTo>
                      <a:lnTo>
                        <a:pt x="1245" y="115"/>
                      </a:lnTo>
                      <a:lnTo>
                        <a:pt x="1159" y="149"/>
                      </a:lnTo>
                      <a:lnTo>
                        <a:pt x="1075" y="187"/>
                      </a:lnTo>
                      <a:lnTo>
                        <a:pt x="994" y="230"/>
                      </a:lnTo>
                      <a:lnTo>
                        <a:pt x="914" y="276"/>
                      </a:lnTo>
                      <a:lnTo>
                        <a:pt x="837" y="325"/>
                      </a:lnTo>
                      <a:lnTo>
                        <a:pt x="763" y="378"/>
                      </a:lnTo>
                      <a:lnTo>
                        <a:pt x="691" y="434"/>
                      </a:lnTo>
                      <a:lnTo>
                        <a:pt x="622" y="494"/>
                      </a:lnTo>
                      <a:lnTo>
                        <a:pt x="557" y="557"/>
                      </a:lnTo>
                      <a:lnTo>
                        <a:pt x="494" y="622"/>
                      </a:lnTo>
                      <a:lnTo>
                        <a:pt x="434" y="692"/>
                      </a:lnTo>
                      <a:lnTo>
                        <a:pt x="377" y="763"/>
                      </a:lnTo>
                      <a:lnTo>
                        <a:pt x="325" y="838"/>
                      </a:lnTo>
                      <a:lnTo>
                        <a:pt x="274" y="914"/>
                      </a:lnTo>
                      <a:lnTo>
                        <a:pt x="229" y="994"/>
                      </a:lnTo>
                      <a:lnTo>
                        <a:pt x="187" y="1076"/>
                      </a:lnTo>
                      <a:lnTo>
                        <a:pt x="149" y="1160"/>
                      </a:lnTo>
                      <a:lnTo>
                        <a:pt x="115" y="1246"/>
                      </a:lnTo>
                      <a:lnTo>
                        <a:pt x="85" y="1334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09"/>
                      </a:lnTo>
                      <a:lnTo>
                        <a:pt x="10" y="1704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5"/>
                      </a:lnTo>
                      <a:lnTo>
                        <a:pt x="10" y="2092"/>
                      </a:lnTo>
                      <a:lnTo>
                        <a:pt x="22" y="2185"/>
                      </a:lnTo>
                      <a:lnTo>
                        <a:pt x="38" y="2279"/>
                      </a:lnTo>
                      <a:lnTo>
                        <a:pt x="60" y="2371"/>
                      </a:lnTo>
                      <a:lnTo>
                        <a:pt x="85" y="2461"/>
                      </a:lnTo>
                      <a:lnTo>
                        <a:pt x="115" y="2549"/>
                      </a:lnTo>
                      <a:lnTo>
                        <a:pt x="149" y="2636"/>
                      </a:lnTo>
                      <a:lnTo>
                        <a:pt x="187" y="2719"/>
                      </a:lnTo>
                      <a:lnTo>
                        <a:pt x="229" y="2801"/>
                      </a:lnTo>
                      <a:lnTo>
                        <a:pt x="274" y="2881"/>
                      </a:lnTo>
                      <a:lnTo>
                        <a:pt x="325" y="2957"/>
                      </a:lnTo>
                      <a:lnTo>
                        <a:pt x="377" y="3031"/>
                      </a:lnTo>
                      <a:lnTo>
                        <a:pt x="434" y="3103"/>
                      </a:lnTo>
                      <a:lnTo>
                        <a:pt x="494" y="3173"/>
                      </a:lnTo>
                      <a:lnTo>
                        <a:pt x="557" y="3238"/>
                      </a:lnTo>
                      <a:lnTo>
                        <a:pt x="622" y="3302"/>
                      </a:lnTo>
                      <a:lnTo>
                        <a:pt x="691" y="3361"/>
                      </a:lnTo>
                      <a:lnTo>
                        <a:pt x="763" y="3417"/>
                      </a:lnTo>
                      <a:lnTo>
                        <a:pt x="837" y="3470"/>
                      </a:lnTo>
                      <a:lnTo>
                        <a:pt x="914" y="3520"/>
                      </a:lnTo>
                      <a:lnTo>
                        <a:pt x="994" y="3565"/>
                      </a:lnTo>
                      <a:lnTo>
                        <a:pt x="1075" y="3608"/>
                      </a:lnTo>
                      <a:lnTo>
                        <a:pt x="1159" y="3646"/>
                      </a:lnTo>
                      <a:lnTo>
                        <a:pt x="1245" y="3680"/>
                      </a:lnTo>
                      <a:lnTo>
                        <a:pt x="1334" y="3709"/>
                      </a:lnTo>
                      <a:lnTo>
                        <a:pt x="1423" y="3735"/>
                      </a:lnTo>
                      <a:lnTo>
                        <a:pt x="1516" y="3756"/>
                      </a:lnTo>
                      <a:lnTo>
                        <a:pt x="1608" y="3773"/>
                      </a:lnTo>
                      <a:lnTo>
                        <a:pt x="1703" y="3785"/>
                      </a:lnTo>
                      <a:lnTo>
                        <a:pt x="1799" y="3793"/>
                      </a:lnTo>
                      <a:lnTo>
                        <a:pt x="1897" y="3795"/>
                      </a:lnTo>
                    </a:path>
                  </a:pathLst>
                </a:custGeom>
                <a:noFill/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58" name="Text Box 286"/>
                <p:cNvSpPr txBox="1">
                  <a:spLocks noChangeArrowheads="1"/>
                </p:cNvSpPr>
                <p:nvPr/>
              </p:nvSpPr>
              <p:spPr bwMode="auto">
                <a:xfrm>
                  <a:off x="2490" y="1748"/>
                  <a:ext cx="822" cy="52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Process </a:t>
                  </a:r>
                  <a:r>
                    <a:rPr lang="en-US" sz="1600" dirty="0" err="1">
                      <a:solidFill>
                        <a:srgbClr val="FFD911"/>
                      </a:solidFill>
                      <a:ea typeface="ＭＳ Ｐゴシック" pitchFamily="34" charset="-128"/>
                    </a:rPr>
                    <a:t>ControlQC</a:t>
                  </a: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 &amp; Specimen Management</a:t>
                  </a:r>
                </a:p>
              </p:txBody>
            </p:sp>
          </p:grpSp>
          <p:sp>
            <p:nvSpPr>
              <p:cNvPr id="1078559" name="Rectangle 287"/>
              <p:cNvSpPr>
                <a:spLocks noChangeArrowheads="1"/>
              </p:cNvSpPr>
              <p:nvPr/>
            </p:nvSpPr>
            <p:spPr bwMode="auto">
              <a:xfrm>
                <a:off x="1819" y="1057"/>
                <a:ext cx="2123" cy="14"/>
              </a:xfrm>
              <a:prstGeom prst="rect">
                <a:avLst/>
              </a:prstGeom>
              <a:solidFill>
                <a:srgbClr val="72706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grpSp>
            <p:nvGrpSpPr>
              <p:cNvPr id="5" name="Group 288"/>
              <p:cNvGrpSpPr>
                <a:grpSpLocks/>
              </p:cNvGrpSpPr>
              <p:nvPr/>
            </p:nvGrpSpPr>
            <p:grpSpPr bwMode="auto">
              <a:xfrm>
                <a:off x="1357" y="1574"/>
                <a:ext cx="947" cy="759"/>
                <a:chOff x="1357" y="1574"/>
                <a:chExt cx="947" cy="759"/>
              </a:xfrm>
            </p:grpSpPr>
            <p:sp>
              <p:nvSpPr>
                <p:cNvPr id="1078561" name="Freeform 289"/>
                <p:cNvSpPr>
                  <a:spLocks/>
                </p:cNvSpPr>
                <p:nvPr/>
              </p:nvSpPr>
              <p:spPr bwMode="auto">
                <a:xfrm>
                  <a:off x="1435" y="1574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1" y="3786"/>
                    </a:cxn>
                    <a:cxn ang="0">
                      <a:pos x="2371" y="3736"/>
                    </a:cxn>
                    <a:cxn ang="0">
                      <a:pos x="2634" y="3645"/>
                    </a:cxn>
                    <a:cxn ang="0">
                      <a:pos x="2880" y="3520"/>
                    </a:cxn>
                    <a:cxn ang="0">
                      <a:pos x="3103" y="3361"/>
                    </a:cxn>
                    <a:cxn ang="0">
                      <a:pos x="3300" y="3172"/>
                    </a:cxn>
                    <a:cxn ang="0">
                      <a:pos x="3470" y="2957"/>
                    </a:cxn>
                    <a:cxn ang="0">
                      <a:pos x="3608" y="2719"/>
                    </a:cxn>
                    <a:cxn ang="0">
                      <a:pos x="3709" y="2460"/>
                    </a:cxn>
                    <a:cxn ang="0">
                      <a:pos x="3773" y="2186"/>
                    </a:cxn>
                    <a:cxn ang="0">
                      <a:pos x="3795" y="1898"/>
                    </a:cxn>
                    <a:cxn ang="0">
                      <a:pos x="3773" y="1609"/>
                    </a:cxn>
                    <a:cxn ang="0">
                      <a:pos x="3709" y="1334"/>
                    </a:cxn>
                    <a:cxn ang="0">
                      <a:pos x="3608" y="1076"/>
                    </a:cxn>
                    <a:cxn ang="0">
                      <a:pos x="3470" y="837"/>
                    </a:cxn>
                    <a:cxn ang="0">
                      <a:pos x="3300" y="623"/>
                    </a:cxn>
                    <a:cxn ang="0">
                      <a:pos x="3103" y="434"/>
                    </a:cxn>
                    <a:cxn ang="0">
                      <a:pos x="2880" y="275"/>
                    </a:cxn>
                    <a:cxn ang="0">
                      <a:pos x="2634" y="149"/>
                    </a:cxn>
                    <a:cxn ang="0">
                      <a:pos x="2371" y="60"/>
                    </a:cxn>
                    <a:cxn ang="0">
                      <a:pos x="2091" y="10"/>
                    </a:cxn>
                    <a:cxn ang="0">
                      <a:pos x="1800" y="2"/>
                    </a:cxn>
                    <a:cxn ang="0">
                      <a:pos x="1516" y="38"/>
                    </a:cxn>
                    <a:cxn ang="0">
                      <a:pos x="1246" y="116"/>
                    </a:cxn>
                    <a:cxn ang="0">
                      <a:pos x="994" y="229"/>
                    </a:cxn>
                    <a:cxn ang="0">
                      <a:pos x="763" y="377"/>
                    </a:cxn>
                    <a:cxn ang="0">
                      <a:pos x="557" y="557"/>
                    </a:cxn>
                    <a:cxn ang="0">
                      <a:pos x="377" y="763"/>
                    </a:cxn>
                    <a:cxn ang="0">
                      <a:pos x="229" y="994"/>
                    </a:cxn>
                    <a:cxn ang="0">
                      <a:pos x="116" y="1246"/>
                    </a:cxn>
                    <a:cxn ang="0">
                      <a:pos x="39" y="1516"/>
                    </a:cxn>
                    <a:cxn ang="0">
                      <a:pos x="3" y="1800"/>
                    </a:cxn>
                    <a:cxn ang="0">
                      <a:pos x="10" y="2091"/>
                    </a:cxn>
                    <a:cxn ang="0">
                      <a:pos x="60" y="2371"/>
                    </a:cxn>
                    <a:cxn ang="0">
                      <a:pos x="150" y="2635"/>
                    </a:cxn>
                    <a:cxn ang="0">
                      <a:pos x="275" y="2880"/>
                    </a:cxn>
                    <a:cxn ang="0">
                      <a:pos x="434" y="3103"/>
                    </a:cxn>
                    <a:cxn ang="0">
                      <a:pos x="623" y="3301"/>
                    </a:cxn>
                    <a:cxn ang="0">
                      <a:pos x="838" y="3471"/>
                    </a:cxn>
                    <a:cxn ang="0">
                      <a:pos x="1076" y="3608"/>
                    </a:cxn>
                    <a:cxn ang="0">
                      <a:pos x="1334" y="3709"/>
                    </a:cxn>
                    <a:cxn ang="0">
                      <a:pos x="1609" y="3774"/>
                    </a:cxn>
                    <a:cxn ang="0">
                      <a:pos x="1898" y="3795"/>
                    </a:cxn>
                  </a:cxnLst>
                  <a:rect l="0" t="0" r="r" b="b"/>
                  <a:pathLst>
                    <a:path w="3795" h="3795">
                      <a:moveTo>
                        <a:pt x="1898" y="3795"/>
                      </a:moveTo>
                      <a:lnTo>
                        <a:pt x="1995" y="3792"/>
                      </a:lnTo>
                      <a:lnTo>
                        <a:pt x="2091" y="3786"/>
                      </a:lnTo>
                      <a:lnTo>
                        <a:pt x="2185" y="3774"/>
                      </a:lnTo>
                      <a:lnTo>
                        <a:pt x="2279" y="3756"/>
                      </a:lnTo>
                      <a:lnTo>
                        <a:pt x="2371" y="3736"/>
                      </a:lnTo>
                      <a:lnTo>
                        <a:pt x="2460" y="3709"/>
                      </a:lnTo>
                      <a:lnTo>
                        <a:pt x="2548" y="3680"/>
                      </a:lnTo>
                      <a:lnTo>
                        <a:pt x="2634" y="3645"/>
                      </a:lnTo>
                      <a:lnTo>
                        <a:pt x="2718" y="3608"/>
                      </a:lnTo>
                      <a:lnTo>
                        <a:pt x="2800" y="3566"/>
                      </a:lnTo>
                      <a:lnTo>
                        <a:pt x="2880" y="3520"/>
                      </a:lnTo>
                      <a:lnTo>
                        <a:pt x="2957" y="3471"/>
                      </a:lnTo>
                      <a:lnTo>
                        <a:pt x="3031" y="3417"/>
                      </a:lnTo>
                      <a:lnTo>
                        <a:pt x="3103" y="3361"/>
                      </a:lnTo>
                      <a:lnTo>
                        <a:pt x="3172" y="3301"/>
                      </a:lnTo>
                      <a:lnTo>
                        <a:pt x="3238" y="3239"/>
                      </a:lnTo>
                      <a:lnTo>
                        <a:pt x="3300" y="3172"/>
                      </a:lnTo>
                      <a:lnTo>
                        <a:pt x="3360" y="3103"/>
                      </a:lnTo>
                      <a:lnTo>
                        <a:pt x="3417" y="3031"/>
                      </a:lnTo>
                      <a:lnTo>
                        <a:pt x="3470" y="2957"/>
                      </a:lnTo>
                      <a:lnTo>
                        <a:pt x="3519" y="2880"/>
                      </a:lnTo>
                      <a:lnTo>
                        <a:pt x="3565" y="2800"/>
                      </a:lnTo>
                      <a:lnTo>
                        <a:pt x="3608" y="2719"/>
                      </a:lnTo>
                      <a:lnTo>
                        <a:pt x="3646" y="2635"/>
                      </a:lnTo>
                      <a:lnTo>
                        <a:pt x="3680" y="2549"/>
                      </a:lnTo>
                      <a:lnTo>
                        <a:pt x="3709" y="2460"/>
                      </a:lnTo>
                      <a:lnTo>
                        <a:pt x="3735" y="2371"/>
                      </a:lnTo>
                      <a:lnTo>
                        <a:pt x="3756" y="2279"/>
                      </a:lnTo>
                      <a:lnTo>
                        <a:pt x="3773" y="2186"/>
                      </a:lnTo>
                      <a:lnTo>
                        <a:pt x="3785" y="2091"/>
                      </a:lnTo>
                      <a:lnTo>
                        <a:pt x="3792" y="1995"/>
                      </a:lnTo>
                      <a:lnTo>
                        <a:pt x="3795" y="1898"/>
                      </a:lnTo>
                      <a:lnTo>
                        <a:pt x="3792" y="1800"/>
                      </a:lnTo>
                      <a:lnTo>
                        <a:pt x="3785" y="1704"/>
                      </a:lnTo>
                      <a:lnTo>
                        <a:pt x="3773" y="1609"/>
                      </a:lnTo>
                      <a:lnTo>
                        <a:pt x="3756" y="1516"/>
                      </a:lnTo>
                      <a:lnTo>
                        <a:pt x="3735" y="1424"/>
                      </a:lnTo>
                      <a:lnTo>
                        <a:pt x="3709" y="1334"/>
                      </a:lnTo>
                      <a:lnTo>
                        <a:pt x="3680" y="1246"/>
                      </a:lnTo>
                      <a:lnTo>
                        <a:pt x="3646" y="1160"/>
                      </a:lnTo>
                      <a:lnTo>
                        <a:pt x="3608" y="1076"/>
                      </a:lnTo>
                      <a:lnTo>
                        <a:pt x="3565" y="994"/>
                      </a:lnTo>
                      <a:lnTo>
                        <a:pt x="3519" y="915"/>
                      </a:lnTo>
                      <a:lnTo>
                        <a:pt x="3470" y="837"/>
                      </a:lnTo>
                      <a:lnTo>
                        <a:pt x="3417" y="763"/>
                      </a:lnTo>
                      <a:lnTo>
                        <a:pt x="3360" y="691"/>
                      </a:lnTo>
                      <a:lnTo>
                        <a:pt x="3300" y="623"/>
                      </a:lnTo>
                      <a:lnTo>
                        <a:pt x="3238" y="557"/>
                      </a:lnTo>
                      <a:lnTo>
                        <a:pt x="3172" y="494"/>
                      </a:lnTo>
                      <a:lnTo>
                        <a:pt x="3103" y="434"/>
                      </a:lnTo>
                      <a:lnTo>
                        <a:pt x="3031" y="377"/>
                      </a:lnTo>
                      <a:lnTo>
                        <a:pt x="2957" y="325"/>
                      </a:lnTo>
                      <a:lnTo>
                        <a:pt x="2880" y="275"/>
                      </a:lnTo>
                      <a:lnTo>
                        <a:pt x="2800" y="229"/>
                      </a:lnTo>
                      <a:lnTo>
                        <a:pt x="2718" y="188"/>
                      </a:lnTo>
                      <a:lnTo>
                        <a:pt x="2634" y="149"/>
                      </a:lnTo>
                      <a:lnTo>
                        <a:pt x="2548" y="116"/>
                      </a:lnTo>
                      <a:lnTo>
                        <a:pt x="2460" y="85"/>
                      </a:lnTo>
                      <a:lnTo>
                        <a:pt x="2371" y="60"/>
                      </a:lnTo>
                      <a:lnTo>
                        <a:pt x="2279" y="38"/>
                      </a:lnTo>
                      <a:lnTo>
                        <a:pt x="2185" y="22"/>
                      </a:lnTo>
                      <a:lnTo>
                        <a:pt x="2091" y="10"/>
                      </a:lnTo>
                      <a:lnTo>
                        <a:pt x="1995" y="2"/>
                      </a:lnTo>
                      <a:lnTo>
                        <a:pt x="1898" y="0"/>
                      </a:lnTo>
                      <a:lnTo>
                        <a:pt x="1800" y="2"/>
                      </a:lnTo>
                      <a:lnTo>
                        <a:pt x="1704" y="10"/>
                      </a:lnTo>
                      <a:lnTo>
                        <a:pt x="1609" y="22"/>
                      </a:lnTo>
                      <a:lnTo>
                        <a:pt x="1516" y="38"/>
                      </a:lnTo>
                      <a:lnTo>
                        <a:pt x="1425" y="60"/>
                      </a:lnTo>
                      <a:lnTo>
                        <a:pt x="1334" y="85"/>
                      </a:lnTo>
                      <a:lnTo>
                        <a:pt x="1246" y="116"/>
                      </a:lnTo>
                      <a:lnTo>
                        <a:pt x="1160" y="149"/>
                      </a:lnTo>
                      <a:lnTo>
                        <a:pt x="1076" y="188"/>
                      </a:lnTo>
                      <a:lnTo>
                        <a:pt x="994" y="229"/>
                      </a:lnTo>
                      <a:lnTo>
                        <a:pt x="915" y="275"/>
                      </a:lnTo>
                      <a:lnTo>
                        <a:pt x="838" y="325"/>
                      </a:lnTo>
                      <a:lnTo>
                        <a:pt x="763" y="377"/>
                      </a:lnTo>
                      <a:lnTo>
                        <a:pt x="691" y="434"/>
                      </a:lnTo>
                      <a:lnTo>
                        <a:pt x="623" y="494"/>
                      </a:lnTo>
                      <a:lnTo>
                        <a:pt x="557" y="557"/>
                      </a:lnTo>
                      <a:lnTo>
                        <a:pt x="494" y="623"/>
                      </a:lnTo>
                      <a:lnTo>
                        <a:pt x="434" y="691"/>
                      </a:lnTo>
                      <a:lnTo>
                        <a:pt x="377" y="763"/>
                      </a:lnTo>
                      <a:lnTo>
                        <a:pt x="325" y="837"/>
                      </a:lnTo>
                      <a:lnTo>
                        <a:pt x="275" y="915"/>
                      </a:lnTo>
                      <a:lnTo>
                        <a:pt x="229" y="994"/>
                      </a:lnTo>
                      <a:lnTo>
                        <a:pt x="188" y="1076"/>
                      </a:lnTo>
                      <a:lnTo>
                        <a:pt x="150" y="1160"/>
                      </a:lnTo>
                      <a:lnTo>
                        <a:pt x="116" y="1246"/>
                      </a:lnTo>
                      <a:lnTo>
                        <a:pt x="85" y="1334"/>
                      </a:lnTo>
                      <a:lnTo>
                        <a:pt x="60" y="1424"/>
                      </a:lnTo>
                      <a:lnTo>
                        <a:pt x="39" y="1516"/>
                      </a:lnTo>
                      <a:lnTo>
                        <a:pt x="22" y="1609"/>
                      </a:lnTo>
                      <a:lnTo>
                        <a:pt x="10" y="1704"/>
                      </a:lnTo>
                      <a:lnTo>
                        <a:pt x="3" y="1800"/>
                      </a:lnTo>
                      <a:lnTo>
                        <a:pt x="0" y="1898"/>
                      </a:lnTo>
                      <a:lnTo>
                        <a:pt x="3" y="1995"/>
                      </a:lnTo>
                      <a:lnTo>
                        <a:pt x="10" y="2091"/>
                      </a:lnTo>
                      <a:lnTo>
                        <a:pt x="22" y="2186"/>
                      </a:lnTo>
                      <a:lnTo>
                        <a:pt x="39" y="2279"/>
                      </a:lnTo>
                      <a:lnTo>
                        <a:pt x="60" y="2371"/>
                      </a:lnTo>
                      <a:lnTo>
                        <a:pt x="85" y="2460"/>
                      </a:lnTo>
                      <a:lnTo>
                        <a:pt x="116" y="2549"/>
                      </a:lnTo>
                      <a:lnTo>
                        <a:pt x="150" y="2635"/>
                      </a:lnTo>
                      <a:lnTo>
                        <a:pt x="188" y="2719"/>
                      </a:lnTo>
                      <a:lnTo>
                        <a:pt x="229" y="2800"/>
                      </a:lnTo>
                      <a:lnTo>
                        <a:pt x="275" y="2880"/>
                      </a:lnTo>
                      <a:lnTo>
                        <a:pt x="325" y="2957"/>
                      </a:lnTo>
                      <a:lnTo>
                        <a:pt x="377" y="3031"/>
                      </a:lnTo>
                      <a:lnTo>
                        <a:pt x="434" y="3103"/>
                      </a:lnTo>
                      <a:lnTo>
                        <a:pt x="494" y="3172"/>
                      </a:lnTo>
                      <a:lnTo>
                        <a:pt x="557" y="3239"/>
                      </a:lnTo>
                      <a:lnTo>
                        <a:pt x="623" y="3301"/>
                      </a:lnTo>
                      <a:lnTo>
                        <a:pt x="691" y="3361"/>
                      </a:lnTo>
                      <a:lnTo>
                        <a:pt x="763" y="3417"/>
                      </a:lnTo>
                      <a:lnTo>
                        <a:pt x="838" y="3471"/>
                      </a:lnTo>
                      <a:lnTo>
                        <a:pt x="915" y="3520"/>
                      </a:lnTo>
                      <a:lnTo>
                        <a:pt x="994" y="3566"/>
                      </a:lnTo>
                      <a:lnTo>
                        <a:pt x="1076" y="3608"/>
                      </a:lnTo>
                      <a:lnTo>
                        <a:pt x="1160" y="3645"/>
                      </a:lnTo>
                      <a:lnTo>
                        <a:pt x="1246" y="3680"/>
                      </a:lnTo>
                      <a:lnTo>
                        <a:pt x="1334" y="3709"/>
                      </a:lnTo>
                      <a:lnTo>
                        <a:pt x="1425" y="3736"/>
                      </a:lnTo>
                      <a:lnTo>
                        <a:pt x="1516" y="3756"/>
                      </a:lnTo>
                      <a:lnTo>
                        <a:pt x="1609" y="3774"/>
                      </a:lnTo>
                      <a:lnTo>
                        <a:pt x="1704" y="3786"/>
                      </a:lnTo>
                      <a:lnTo>
                        <a:pt x="1800" y="3792"/>
                      </a:lnTo>
                      <a:lnTo>
                        <a:pt x="1898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62" name="Text Box 290"/>
                <p:cNvSpPr txBox="1">
                  <a:spLocks noChangeArrowheads="1"/>
                </p:cNvSpPr>
                <p:nvPr/>
              </p:nvSpPr>
              <p:spPr bwMode="auto">
                <a:xfrm>
                  <a:off x="1357" y="1798"/>
                  <a:ext cx="947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Purchasing &amp; Inventory</a:t>
                  </a:r>
                </a:p>
              </p:txBody>
            </p:sp>
          </p:grpSp>
          <p:sp>
            <p:nvSpPr>
              <p:cNvPr id="1078563" name="Freeform 291"/>
              <p:cNvSpPr>
                <a:spLocks/>
              </p:cNvSpPr>
              <p:nvPr/>
            </p:nvSpPr>
            <p:spPr bwMode="auto">
              <a:xfrm>
                <a:off x="3586" y="1574"/>
                <a:ext cx="759" cy="759"/>
              </a:xfrm>
              <a:custGeom>
                <a:avLst/>
                <a:gdLst/>
                <a:ahLst/>
                <a:cxnLst>
                  <a:cxn ang="0">
                    <a:pos x="2091" y="3786"/>
                  </a:cxn>
                  <a:cxn ang="0">
                    <a:pos x="2371" y="3736"/>
                  </a:cxn>
                  <a:cxn ang="0">
                    <a:pos x="2635" y="3645"/>
                  </a:cxn>
                  <a:cxn ang="0">
                    <a:pos x="2880" y="3520"/>
                  </a:cxn>
                  <a:cxn ang="0">
                    <a:pos x="3104" y="3361"/>
                  </a:cxn>
                  <a:cxn ang="0">
                    <a:pos x="3301" y="3172"/>
                  </a:cxn>
                  <a:cxn ang="0">
                    <a:pos x="3470" y="2957"/>
                  </a:cxn>
                  <a:cxn ang="0">
                    <a:pos x="3607" y="2719"/>
                  </a:cxn>
                  <a:cxn ang="0">
                    <a:pos x="3710" y="2460"/>
                  </a:cxn>
                  <a:cxn ang="0">
                    <a:pos x="3773" y="2186"/>
                  </a:cxn>
                  <a:cxn ang="0">
                    <a:pos x="3795" y="1898"/>
                  </a:cxn>
                  <a:cxn ang="0">
                    <a:pos x="3773" y="1609"/>
                  </a:cxn>
                  <a:cxn ang="0">
                    <a:pos x="3710" y="1334"/>
                  </a:cxn>
                  <a:cxn ang="0">
                    <a:pos x="3607" y="1076"/>
                  </a:cxn>
                  <a:cxn ang="0">
                    <a:pos x="3470" y="837"/>
                  </a:cxn>
                  <a:cxn ang="0">
                    <a:pos x="3301" y="623"/>
                  </a:cxn>
                  <a:cxn ang="0">
                    <a:pos x="3104" y="434"/>
                  </a:cxn>
                  <a:cxn ang="0">
                    <a:pos x="2880" y="275"/>
                  </a:cxn>
                  <a:cxn ang="0">
                    <a:pos x="2635" y="149"/>
                  </a:cxn>
                  <a:cxn ang="0">
                    <a:pos x="2371" y="60"/>
                  </a:cxn>
                  <a:cxn ang="0">
                    <a:pos x="2091" y="10"/>
                  </a:cxn>
                  <a:cxn ang="0">
                    <a:pos x="1800" y="2"/>
                  </a:cxn>
                  <a:cxn ang="0">
                    <a:pos x="1516" y="38"/>
                  </a:cxn>
                  <a:cxn ang="0">
                    <a:pos x="1247" y="116"/>
                  </a:cxn>
                  <a:cxn ang="0">
                    <a:pos x="995" y="229"/>
                  </a:cxn>
                  <a:cxn ang="0">
                    <a:pos x="764" y="377"/>
                  </a:cxn>
                  <a:cxn ang="0">
                    <a:pos x="557" y="557"/>
                  </a:cxn>
                  <a:cxn ang="0">
                    <a:pos x="378" y="763"/>
                  </a:cxn>
                  <a:cxn ang="0">
                    <a:pos x="230" y="994"/>
                  </a:cxn>
                  <a:cxn ang="0">
                    <a:pos x="115" y="1246"/>
                  </a:cxn>
                  <a:cxn ang="0">
                    <a:pos x="39" y="1516"/>
                  </a:cxn>
                  <a:cxn ang="0">
                    <a:pos x="3" y="1800"/>
                  </a:cxn>
                  <a:cxn ang="0">
                    <a:pos x="10" y="2091"/>
                  </a:cxn>
                  <a:cxn ang="0">
                    <a:pos x="60" y="2371"/>
                  </a:cxn>
                  <a:cxn ang="0">
                    <a:pos x="150" y="2635"/>
                  </a:cxn>
                  <a:cxn ang="0">
                    <a:pos x="276" y="2880"/>
                  </a:cxn>
                  <a:cxn ang="0">
                    <a:pos x="435" y="3103"/>
                  </a:cxn>
                  <a:cxn ang="0">
                    <a:pos x="623" y="3301"/>
                  </a:cxn>
                  <a:cxn ang="0">
                    <a:pos x="838" y="3471"/>
                  </a:cxn>
                  <a:cxn ang="0">
                    <a:pos x="1077" y="3608"/>
                  </a:cxn>
                  <a:cxn ang="0">
                    <a:pos x="1335" y="3709"/>
                  </a:cxn>
                  <a:cxn ang="0">
                    <a:pos x="1610" y="3774"/>
                  </a:cxn>
                  <a:cxn ang="0">
                    <a:pos x="1897" y="3795"/>
                  </a:cxn>
                </a:cxnLst>
                <a:rect l="0" t="0" r="r" b="b"/>
                <a:pathLst>
                  <a:path w="3795" h="3795">
                    <a:moveTo>
                      <a:pt x="1897" y="3795"/>
                    </a:moveTo>
                    <a:lnTo>
                      <a:pt x="1995" y="3792"/>
                    </a:lnTo>
                    <a:lnTo>
                      <a:pt x="2091" y="3786"/>
                    </a:lnTo>
                    <a:lnTo>
                      <a:pt x="2186" y="3774"/>
                    </a:lnTo>
                    <a:lnTo>
                      <a:pt x="2279" y="3756"/>
                    </a:lnTo>
                    <a:lnTo>
                      <a:pt x="2371" y="3736"/>
                    </a:lnTo>
                    <a:lnTo>
                      <a:pt x="2461" y="3709"/>
                    </a:lnTo>
                    <a:lnTo>
                      <a:pt x="2549" y="3680"/>
                    </a:lnTo>
                    <a:lnTo>
                      <a:pt x="2635" y="3645"/>
                    </a:lnTo>
                    <a:lnTo>
                      <a:pt x="2719" y="3608"/>
                    </a:lnTo>
                    <a:lnTo>
                      <a:pt x="2801" y="3566"/>
                    </a:lnTo>
                    <a:lnTo>
                      <a:pt x="2880" y="3520"/>
                    </a:lnTo>
                    <a:lnTo>
                      <a:pt x="2958" y="3471"/>
                    </a:lnTo>
                    <a:lnTo>
                      <a:pt x="3032" y="3417"/>
                    </a:lnTo>
                    <a:lnTo>
                      <a:pt x="3104" y="3361"/>
                    </a:lnTo>
                    <a:lnTo>
                      <a:pt x="3172" y="3301"/>
                    </a:lnTo>
                    <a:lnTo>
                      <a:pt x="3238" y="3239"/>
                    </a:lnTo>
                    <a:lnTo>
                      <a:pt x="3301" y="3172"/>
                    </a:lnTo>
                    <a:lnTo>
                      <a:pt x="3361" y="3103"/>
                    </a:lnTo>
                    <a:lnTo>
                      <a:pt x="3418" y="3031"/>
                    </a:lnTo>
                    <a:lnTo>
                      <a:pt x="3470" y="2957"/>
                    </a:lnTo>
                    <a:lnTo>
                      <a:pt x="3520" y="2880"/>
                    </a:lnTo>
                    <a:lnTo>
                      <a:pt x="3566" y="2800"/>
                    </a:lnTo>
                    <a:lnTo>
                      <a:pt x="3607" y="2719"/>
                    </a:lnTo>
                    <a:lnTo>
                      <a:pt x="3645" y="2635"/>
                    </a:lnTo>
                    <a:lnTo>
                      <a:pt x="3679" y="2549"/>
                    </a:lnTo>
                    <a:lnTo>
                      <a:pt x="3710" y="2460"/>
                    </a:lnTo>
                    <a:lnTo>
                      <a:pt x="3735" y="2371"/>
                    </a:lnTo>
                    <a:lnTo>
                      <a:pt x="3756" y="2279"/>
                    </a:lnTo>
                    <a:lnTo>
                      <a:pt x="3773" y="2186"/>
                    </a:lnTo>
                    <a:lnTo>
                      <a:pt x="3785" y="2091"/>
                    </a:lnTo>
                    <a:lnTo>
                      <a:pt x="3792" y="1995"/>
                    </a:lnTo>
                    <a:lnTo>
                      <a:pt x="3795" y="1898"/>
                    </a:lnTo>
                    <a:lnTo>
                      <a:pt x="3792" y="1800"/>
                    </a:lnTo>
                    <a:lnTo>
                      <a:pt x="3785" y="1704"/>
                    </a:lnTo>
                    <a:lnTo>
                      <a:pt x="3773" y="1609"/>
                    </a:lnTo>
                    <a:lnTo>
                      <a:pt x="3756" y="1516"/>
                    </a:lnTo>
                    <a:lnTo>
                      <a:pt x="3735" y="1424"/>
                    </a:lnTo>
                    <a:lnTo>
                      <a:pt x="3710" y="1334"/>
                    </a:lnTo>
                    <a:lnTo>
                      <a:pt x="3679" y="1246"/>
                    </a:lnTo>
                    <a:lnTo>
                      <a:pt x="3645" y="1160"/>
                    </a:lnTo>
                    <a:lnTo>
                      <a:pt x="3607" y="1076"/>
                    </a:lnTo>
                    <a:lnTo>
                      <a:pt x="3566" y="994"/>
                    </a:lnTo>
                    <a:lnTo>
                      <a:pt x="3520" y="915"/>
                    </a:lnTo>
                    <a:lnTo>
                      <a:pt x="3470" y="837"/>
                    </a:lnTo>
                    <a:lnTo>
                      <a:pt x="3418" y="763"/>
                    </a:lnTo>
                    <a:lnTo>
                      <a:pt x="3361" y="691"/>
                    </a:lnTo>
                    <a:lnTo>
                      <a:pt x="3301" y="623"/>
                    </a:lnTo>
                    <a:lnTo>
                      <a:pt x="3238" y="557"/>
                    </a:lnTo>
                    <a:lnTo>
                      <a:pt x="3172" y="494"/>
                    </a:lnTo>
                    <a:lnTo>
                      <a:pt x="3104" y="434"/>
                    </a:lnTo>
                    <a:lnTo>
                      <a:pt x="3032" y="377"/>
                    </a:lnTo>
                    <a:lnTo>
                      <a:pt x="2958" y="325"/>
                    </a:lnTo>
                    <a:lnTo>
                      <a:pt x="2880" y="275"/>
                    </a:lnTo>
                    <a:lnTo>
                      <a:pt x="2801" y="229"/>
                    </a:lnTo>
                    <a:lnTo>
                      <a:pt x="2719" y="188"/>
                    </a:lnTo>
                    <a:lnTo>
                      <a:pt x="2635" y="149"/>
                    </a:lnTo>
                    <a:lnTo>
                      <a:pt x="2549" y="116"/>
                    </a:lnTo>
                    <a:lnTo>
                      <a:pt x="2461" y="85"/>
                    </a:lnTo>
                    <a:lnTo>
                      <a:pt x="2371" y="60"/>
                    </a:lnTo>
                    <a:lnTo>
                      <a:pt x="2279" y="38"/>
                    </a:lnTo>
                    <a:lnTo>
                      <a:pt x="2186" y="22"/>
                    </a:lnTo>
                    <a:lnTo>
                      <a:pt x="2091" y="10"/>
                    </a:lnTo>
                    <a:lnTo>
                      <a:pt x="1995" y="2"/>
                    </a:lnTo>
                    <a:lnTo>
                      <a:pt x="1897" y="0"/>
                    </a:lnTo>
                    <a:lnTo>
                      <a:pt x="1800" y="2"/>
                    </a:lnTo>
                    <a:lnTo>
                      <a:pt x="1704" y="10"/>
                    </a:lnTo>
                    <a:lnTo>
                      <a:pt x="1610" y="22"/>
                    </a:lnTo>
                    <a:lnTo>
                      <a:pt x="1516" y="38"/>
                    </a:lnTo>
                    <a:lnTo>
                      <a:pt x="1424" y="60"/>
                    </a:lnTo>
                    <a:lnTo>
                      <a:pt x="1335" y="85"/>
                    </a:lnTo>
                    <a:lnTo>
                      <a:pt x="1247" y="116"/>
                    </a:lnTo>
                    <a:lnTo>
                      <a:pt x="1161" y="149"/>
                    </a:lnTo>
                    <a:lnTo>
                      <a:pt x="1077" y="188"/>
                    </a:lnTo>
                    <a:lnTo>
                      <a:pt x="995" y="229"/>
                    </a:lnTo>
                    <a:lnTo>
                      <a:pt x="915" y="275"/>
                    </a:lnTo>
                    <a:lnTo>
                      <a:pt x="838" y="325"/>
                    </a:lnTo>
                    <a:lnTo>
                      <a:pt x="764" y="377"/>
                    </a:lnTo>
                    <a:lnTo>
                      <a:pt x="692" y="434"/>
                    </a:lnTo>
                    <a:lnTo>
                      <a:pt x="623" y="494"/>
                    </a:lnTo>
                    <a:lnTo>
                      <a:pt x="557" y="557"/>
                    </a:lnTo>
                    <a:lnTo>
                      <a:pt x="495" y="623"/>
                    </a:lnTo>
                    <a:lnTo>
                      <a:pt x="435" y="691"/>
                    </a:lnTo>
                    <a:lnTo>
                      <a:pt x="378" y="763"/>
                    </a:lnTo>
                    <a:lnTo>
                      <a:pt x="325" y="837"/>
                    </a:lnTo>
                    <a:lnTo>
                      <a:pt x="276" y="915"/>
                    </a:lnTo>
                    <a:lnTo>
                      <a:pt x="230" y="994"/>
                    </a:lnTo>
                    <a:lnTo>
                      <a:pt x="187" y="1076"/>
                    </a:lnTo>
                    <a:lnTo>
                      <a:pt x="150" y="1160"/>
                    </a:lnTo>
                    <a:lnTo>
                      <a:pt x="115" y="1246"/>
                    </a:lnTo>
                    <a:lnTo>
                      <a:pt x="86" y="1334"/>
                    </a:lnTo>
                    <a:lnTo>
                      <a:pt x="60" y="1424"/>
                    </a:lnTo>
                    <a:lnTo>
                      <a:pt x="39" y="1516"/>
                    </a:lnTo>
                    <a:lnTo>
                      <a:pt x="23" y="1609"/>
                    </a:lnTo>
                    <a:lnTo>
                      <a:pt x="10" y="1704"/>
                    </a:lnTo>
                    <a:lnTo>
                      <a:pt x="3" y="1800"/>
                    </a:lnTo>
                    <a:lnTo>
                      <a:pt x="0" y="1898"/>
                    </a:lnTo>
                    <a:lnTo>
                      <a:pt x="3" y="1995"/>
                    </a:lnTo>
                    <a:lnTo>
                      <a:pt x="10" y="2091"/>
                    </a:lnTo>
                    <a:lnTo>
                      <a:pt x="23" y="2186"/>
                    </a:lnTo>
                    <a:lnTo>
                      <a:pt x="39" y="2279"/>
                    </a:lnTo>
                    <a:lnTo>
                      <a:pt x="60" y="2371"/>
                    </a:lnTo>
                    <a:lnTo>
                      <a:pt x="86" y="2460"/>
                    </a:lnTo>
                    <a:lnTo>
                      <a:pt x="115" y="2549"/>
                    </a:lnTo>
                    <a:lnTo>
                      <a:pt x="150" y="2635"/>
                    </a:lnTo>
                    <a:lnTo>
                      <a:pt x="187" y="2719"/>
                    </a:lnTo>
                    <a:lnTo>
                      <a:pt x="230" y="2800"/>
                    </a:lnTo>
                    <a:lnTo>
                      <a:pt x="276" y="2880"/>
                    </a:lnTo>
                    <a:lnTo>
                      <a:pt x="325" y="2957"/>
                    </a:lnTo>
                    <a:lnTo>
                      <a:pt x="378" y="3031"/>
                    </a:lnTo>
                    <a:lnTo>
                      <a:pt x="435" y="3103"/>
                    </a:lnTo>
                    <a:lnTo>
                      <a:pt x="495" y="3172"/>
                    </a:lnTo>
                    <a:lnTo>
                      <a:pt x="557" y="3239"/>
                    </a:lnTo>
                    <a:lnTo>
                      <a:pt x="623" y="3301"/>
                    </a:lnTo>
                    <a:lnTo>
                      <a:pt x="692" y="3361"/>
                    </a:lnTo>
                    <a:lnTo>
                      <a:pt x="764" y="3417"/>
                    </a:lnTo>
                    <a:lnTo>
                      <a:pt x="838" y="3471"/>
                    </a:lnTo>
                    <a:lnTo>
                      <a:pt x="915" y="3520"/>
                    </a:lnTo>
                    <a:lnTo>
                      <a:pt x="995" y="3566"/>
                    </a:lnTo>
                    <a:lnTo>
                      <a:pt x="1077" y="3608"/>
                    </a:lnTo>
                    <a:lnTo>
                      <a:pt x="1161" y="3645"/>
                    </a:lnTo>
                    <a:lnTo>
                      <a:pt x="1247" y="3680"/>
                    </a:lnTo>
                    <a:lnTo>
                      <a:pt x="1335" y="3709"/>
                    </a:lnTo>
                    <a:lnTo>
                      <a:pt x="1424" y="3736"/>
                    </a:lnTo>
                    <a:lnTo>
                      <a:pt x="1516" y="3756"/>
                    </a:lnTo>
                    <a:lnTo>
                      <a:pt x="1610" y="3774"/>
                    </a:lnTo>
                    <a:lnTo>
                      <a:pt x="1704" y="3786"/>
                    </a:lnTo>
                    <a:lnTo>
                      <a:pt x="1800" y="3792"/>
                    </a:lnTo>
                    <a:lnTo>
                      <a:pt x="1897" y="3795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latin typeface="Arial" pitchFamily="34" charset="0"/>
                  <a:ea typeface="ＭＳ Ｐゴシック" pitchFamily="34" charset="-128"/>
                </a:endParaRPr>
              </a:p>
            </p:txBody>
          </p:sp>
          <p:grpSp>
            <p:nvGrpSpPr>
              <p:cNvPr id="6" name="Group 292"/>
              <p:cNvGrpSpPr>
                <a:grpSpLocks/>
              </p:cNvGrpSpPr>
              <p:nvPr/>
            </p:nvGrpSpPr>
            <p:grpSpPr bwMode="auto">
              <a:xfrm>
                <a:off x="3549" y="2429"/>
                <a:ext cx="901" cy="759"/>
                <a:chOff x="3549" y="2294"/>
                <a:chExt cx="901" cy="759"/>
              </a:xfrm>
            </p:grpSpPr>
            <p:sp>
              <p:nvSpPr>
                <p:cNvPr id="1078565" name="Freeform 293"/>
                <p:cNvSpPr>
                  <a:spLocks/>
                </p:cNvSpPr>
                <p:nvPr/>
              </p:nvSpPr>
              <p:spPr bwMode="auto">
                <a:xfrm>
                  <a:off x="3586" y="2294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1" y="3786"/>
                    </a:cxn>
                    <a:cxn ang="0">
                      <a:pos x="2371" y="3735"/>
                    </a:cxn>
                    <a:cxn ang="0">
                      <a:pos x="2635" y="3646"/>
                    </a:cxn>
                    <a:cxn ang="0">
                      <a:pos x="2880" y="3521"/>
                    </a:cxn>
                    <a:cxn ang="0">
                      <a:pos x="3104" y="3362"/>
                    </a:cxn>
                    <a:cxn ang="0">
                      <a:pos x="3301" y="3173"/>
                    </a:cxn>
                    <a:cxn ang="0">
                      <a:pos x="3470" y="2958"/>
                    </a:cxn>
                    <a:cxn ang="0">
                      <a:pos x="3607" y="2720"/>
                    </a:cxn>
                    <a:cxn ang="0">
                      <a:pos x="3710" y="2461"/>
                    </a:cxn>
                    <a:cxn ang="0">
                      <a:pos x="3773" y="2187"/>
                    </a:cxn>
                    <a:cxn ang="0">
                      <a:pos x="3795" y="1898"/>
                    </a:cxn>
                    <a:cxn ang="0">
                      <a:pos x="3773" y="1610"/>
                    </a:cxn>
                    <a:cxn ang="0">
                      <a:pos x="3710" y="1335"/>
                    </a:cxn>
                    <a:cxn ang="0">
                      <a:pos x="3607" y="1077"/>
                    </a:cxn>
                    <a:cxn ang="0">
                      <a:pos x="3470" y="838"/>
                    </a:cxn>
                    <a:cxn ang="0">
                      <a:pos x="3301" y="623"/>
                    </a:cxn>
                    <a:cxn ang="0">
                      <a:pos x="3104" y="435"/>
                    </a:cxn>
                    <a:cxn ang="0">
                      <a:pos x="2880" y="276"/>
                    </a:cxn>
                    <a:cxn ang="0">
                      <a:pos x="2635" y="150"/>
                    </a:cxn>
                    <a:cxn ang="0">
                      <a:pos x="2371" y="60"/>
                    </a:cxn>
                    <a:cxn ang="0">
                      <a:pos x="2091" y="10"/>
                    </a:cxn>
                    <a:cxn ang="0">
                      <a:pos x="1800" y="3"/>
                    </a:cxn>
                    <a:cxn ang="0">
                      <a:pos x="1516" y="39"/>
                    </a:cxn>
                    <a:cxn ang="0">
                      <a:pos x="1247" y="116"/>
                    </a:cxn>
                    <a:cxn ang="0">
                      <a:pos x="995" y="230"/>
                    </a:cxn>
                    <a:cxn ang="0">
                      <a:pos x="764" y="378"/>
                    </a:cxn>
                    <a:cxn ang="0">
                      <a:pos x="557" y="557"/>
                    </a:cxn>
                    <a:cxn ang="0">
                      <a:pos x="378" y="764"/>
                    </a:cxn>
                    <a:cxn ang="0">
                      <a:pos x="230" y="995"/>
                    </a:cxn>
                    <a:cxn ang="0">
                      <a:pos x="115" y="1247"/>
                    </a:cxn>
                    <a:cxn ang="0">
                      <a:pos x="39" y="1516"/>
                    </a:cxn>
                    <a:cxn ang="0">
                      <a:pos x="3" y="1801"/>
                    </a:cxn>
                    <a:cxn ang="0">
                      <a:pos x="10" y="2092"/>
                    </a:cxn>
                    <a:cxn ang="0">
                      <a:pos x="60" y="2372"/>
                    </a:cxn>
                    <a:cxn ang="0">
                      <a:pos x="150" y="2636"/>
                    </a:cxn>
                    <a:cxn ang="0">
                      <a:pos x="276" y="2881"/>
                    </a:cxn>
                    <a:cxn ang="0">
                      <a:pos x="435" y="3104"/>
                    </a:cxn>
                    <a:cxn ang="0">
                      <a:pos x="623" y="3302"/>
                    </a:cxn>
                    <a:cxn ang="0">
                      <a:pos x="838" y="3471"/>
                    </a:cxn>
                    <a:cxn ang="0">
                      <a:pos x="1077" y="3608"/>
                    </a:cxn>
                    <a:cxn ang="0">
                      <a:pos x="1335" y="3710"/>
                    </a:cxn>
                    <a:cxn ang="0">
                      <a:pos x="1610" y="3774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5" y="3793"/>
                      </a:lnTo>
                      <a:lnTo>
                        <a:pt x="2091" y="3786"/>
                      </a:lnTo>
                      <a:lnTo>
                        <a:pt x="2186" y="3774"/>
                      </a:lnTo>
                      <a:lnTo>
                        <a:pt x="2279" y="3757"/>
                      </a:lnTo>
                      <a:lnTo>
                        <a:pt x="2371" y="3735"/>
                      </a:lnTo>
                      <a:lnTo>
                        <a:pt x="2461" y="3710"/>
                      </a:lnTo>
                      <a:lnTo>
                        <a:pt x="2549" y="3680"/>
                      </a:lnTo>
                      <a:lnTo>
                        <a:pt x="2635" y="3646"/>
                      </a:lnTo>
                      <a:lnTo>
                        <a:pt x="2719" y="3608"/>
                      </a:lnTo>
                      <a:lnTo>
                        <a:pt x="2801" y="3566"/>
                      </a:lnTo>
                      <a:lnTo>
                        <a:pt x="2880" y="3521"/>
                      </a:lnTo>
                      <a:lnTo>
                        <a:pt x="2958" y="3471"/>
                      </a:lnTo>
                      <a:lnTo>
                        <a:pt x="3032" y="3418"/>
                      </a:lnTo>
                      <a:lnTo>
                        <a:pt x="3104" y="3362"/>
                      </a:lnTo>
                      <a:lnTo>
                        <a:pt x="3172" y="3302"/>
                      </a:lnTo>
                      <a:lnTo>
                        <a:pt x="3238" y="3238"/>
                      </a:lnTo>
                      <a:lnTo>
                        <a:pt x="3301" y="3173"/>
                      </a:lnTo>
                      <a:lnTo>
                        <a:pt x="3361" y="3104"/>
                      </a:lnTo>
                      <a:lnTo>
                        <a:pt x="3418" y="3032"/>
                      </a:lnTo>
                      <a:lnTo>
                        <a:pt x="3470" y="2958"/>
                      </a:lnTo>
                      <a:lnTo>
                        <a:pt x="3520" y="2881"/>
                      </a:lnTo>
                      <a:lnTo>
                        <a:pt x="3566" y="2801"/>
                      </a:lnTo>
                      <a:lnTo>
                        <a:pt x="3607" y="2720"/>
                      </a:lnTo>
                      <a:lnTo>
                        <a:pt x="3645" y="2636"/>
                      </a:lnTo>
                      <a:lnTo>
                        <a:pt x="3679" y="2550"/>
                      </a:lnTo>
                      <a:lnTo>
                        <a:pt x="3710" y="2461"/>
                      </a:lnTo>
                      <a:lnTo>
                        <a:pt x="3735" y="2372"/>
                      </a:lnTo>
                      <a:lnTo>
                        <a:pt x="3756" y="2279"/>
                      </a:lnTo>
                      <a:lnTo>
                        <a:pt x="3773" y="2187"/>
                      </a:lnTo>
                      <a:lnTo>
                        <a:pt x="3785" y="2092"/>
                      </a:lnTo>
                      <a:lnTo>
                        <a:pt x="3792" y="1996"/>
                      </a:lnTo>
                      <a:lnTo>
                        <a:pt x="3795" y="1898"/>
                      </a:lnTo>
                      <a:lnTo>
                        <a:pt x="3792" y="1801"/>
                      </a:lnTo>
                      <a:lnTo>
                        <a:pt x="3785" y="1705"/>
                      </a:lnTo>
                      <a:lnTo>
                        <a:pt x="3773" y="1610"/>
                      </a:lnTo>
                      <a:lnTo>
                        <a:pt x="3756" y="1516"/>
                      </a:lnTo>
                      <a:lnTo>
                        <a:pt x="3735" y="1425"/>
                      </a:lnTo>
                      <a:lnTo>
                        <a:pt x="3710" y="1335"/>
                      </a:lnTo>
                      <a:lnTo>
                        <a:pt x="3679" y="1247"/>
                      </a:lnTo>
                      <a:lnTo>
                        <a:pt x="3645" y="1161"/>
                      </a:lnTo>
                      <a:lnTo>
                        <a:pt x="3607" y="1077"/>
                      </a:lnTo>
                      <a:lnTo>
                        <a:pt x="3566" y="995"/>
                      </a:lnTo>
                      <a:lnTo>
                        <a:pt x="3520" y="916"/>
                      </a:lnTo>
                      <a:lnTo>
                        <a:pt x="3470" y="838"/>
                      </a:lnTo>
                      <a:lnTo>
                        <a:pt x="3418" y="764"/>
                      </a:lnTo>
                      <a:lnTo>
                        <a:pt x="3361" y="692"/>
                      </a:lnTo>
                      <a:lnTo>
                        <a:pt x="3301" y="623"/>
                      </a:lnTo>
                      <a:lnTo>
                        <a:pt x="3238" y="557"/>
                      </a:lnTo>
                      <a:lnTo>
                        <a:pt x="3172" y="495"/>
                      </a:lnTo>
                      <a:lnTo>
                        <a:pt x="3104" y="435"/>
                      </a:lnTo>
                      <a:lnTo>
                        <a:pt x="3032" y="378"/>
                      </a:lnTo>
                      <a:lnTo>
                        <a:pt x="2958" y="325"/>
                      </a:lnTo>
                      <a:lnTo>
                        <a:pt x="2880" y="276"/>
                      </a:lnTo>
                      <a:lnTo>
                        <a:pt x="2801" y="230"/>
                      </a:lnTo>
                      <a:lnTo>
                        <a:pt x="2719" y="187"/>
                      </a:lnTo>
                      <a:lnTo>
                        <a:pt x="2635" y="150"/>
                      </a:lnTo>
                      <a:lnTo>
                        <a:pt x="2549" y="116"/>
                      </a:lnTo>
                      <a:lnTo>
                        <a:pt x="2461" y="86"/>
                      </a:lnTo>
                      <a:lnTo>
                        <a:pt x="2371" y="60"/>
                      </a:lnTo>
                      <a:lnTo>
                        <a:pt x="2279" y="39"/>
                      </a:lnTo>
                      <a:lnTo>
                        <a:pt x="2186" y="22"/>
                      </a:lnTo>
                      <a:lnTo>
                        <a:pt x="2091" y="10"/>
                      </a:lnTo>
                      <a:lnTo>
                        <a:pt x="1995" y="3"/>
                      </a:lnTo>
                      <a:lnTo>
                        <a:pt x="1897" y="0"/>
                      </a:lnTo>
                      <a:lnTo>
                        <a:pt x="1800" y="3"/>
                      </a:lnTo>
                      <a:lnTo>
                        <a:pt x="1704" y="10"/>
                      </a:lnTo>
                      <a:lnTo>
                        <a:pt x="1610" y="22"/>
                      </a:lnTo>
                      <a:lnTo>
                        <a:pt x="1516" y="39"/>
                      </a:lnTo>
                      <a:lnTo>
                        <a:pt x="1424" y="60"/>
                      </a:lnTo>
                      <a:lnTo>
                        <a:pt x="1335" y="86"/>
                      </a:lnTo>
                      <a:lnTo>
                        <a:pt x="1247" y="116"/>
                      </a:lnTo>
                      <a:lnTo>
                        <a:pt x="1161" y="150"/>
                      </a:lnTo>
                      <a:lnTo>
                        <a:pt x="1077" y="187"/>
                      </a:lnTo>
                      <a:lnTo>
                        <a:pt x="995" y="230"/>
                      </a:lnTo>
                      <a:lnTo>
                        <a:pt x="915" y="276"/>
                      </a:lnTo>
                      <a:lnTo>
                        <a:pt x="838" y="325"/>
                      </a:lnTo>
                      <a:lnTo>
                        <a:pt x="764" y="378"/>
                      </a:lnTo>
                      <a:lnTo>
                        <a:pt x="692" y="435"/>
                      </a:lnTo>
                      <a:lnTo>
                        <a:pt x="623" y="495"/>
                      </a:lnTo>
                      <a:lnTo>
                        <a:pt x="557" y="557"/>
                      </a:lnTo>
                      <a:lnTo>
                        <a:pt x="495" y="623"/>
                      </a:lnTo>
                      <a:lnTo>
                        <a:pt x="435" y="692"/>
                      </a:lnTo>
                      <a:lnTo>
                        <a:pt x="378" y="764"/>
                      </a:lnTo>
                      <a:lnTo>
                        <a:pt x="325" y="838"/>
                      </a:lnTo>
                      <a:lnTo>
                        <a:pt x="276" y="916"/>
                      </a:lnTo>
                      <a:lnTo>
                        <a:pt x="230" y="995"/>
                      </a:lnTo>
                      <a:lnTo>
                        <a:pt x="187" y="1077"/>
                      </a:lnTo>
                      <a:lnTo>
                        <a:pt x="150" y="1161"/>
                      </a:lnTo>
                      <a:lnTo>
                        <a:pt x="115" y="1247"/>
                      </a:lnTo>
                      <a:lnTo>
                        <a:pt x="86" y="1335"/>
                      </a:lnTo>
                      <a:lnTo>
                        <a:pt x="60" y="1425"/>
                      </a:lnTo>
                      <a:lnTo>
                        <a:pt x="39" y="1516"/>
                      </a:lnTo>
                      <a:lnTo>
                        <a:pt x="23" y="1610"/>
                      </a:lnTo>
                      <a:lnTo>
                        <a:pt x="10" y="1705"/>
                      </a:lnTo>
                      <a:lnTo>
                        <a:pt x="3" y="1801"/>
                      </a:lnTo>
                      <a:lnTo>
                        <a:pt x="0" y="1898"/>
                      </a:lnTo>
                      <a:lnTo>
                        <a:pt x="3" y="1996"/>
                      </a:lnTo>
                      <a:lnTo>
                        <a:pt x="10" y="2092"/>
                      </a:lnTo>
                      <a:lnTo>
                        <a:pt x="23" y="2187"/>
                      </a:lnTo>
                      <a:lnTo>
                        <a:pt x="39" y="2279"/>
                      </a:lnTo>
                      <a:lnTo>
                        <a:pt x="60" y="2372"/>
                      </a:lnTo>
                      <a:lnTo>
                        <a:pt x="86" y="2461"/>
                      </a:lnTo>
                      <a:lnTo>
                        <a:pt x="115" y="2550"/>
                      </a:lnTo>
                      <a:lnTo>
                        <a:pt x="150" y="2636"/>
                      </a:lnTo>
                      <a:lnTo>
                        <a:pt x="187" y="2720"/>
                      </a:lnTo>
                      <a:lnTo>
                        <a:pt x="230" y="2801"/>
                      </a:lnTo>
                      <a:lnTo>
                        <a:pt x="276" y="2881"/>
                      </a:lnTo>
                      <a:lnTo>
                        <a:pt x="325" y="2958"/>
                      </a:lnTo>
                      <a:lnTo>
                        <a:pt x="378" y="3032"/>
                      </a:lnTo>
                      <a:lnTo>
                        <a:pt x="435" y="3104"/>
                      </a:lnTo>
                      <a:lnTo>
                        <a:pt x="495" y="3173"/>
                      </a:lnTo>
                      <a:lnTo>
                        <a:pt x="557" y="3238"/>
                      </a:lnTo>
                      <a:lnTo>
                        <a:pt x="623" y="3302"/>
                      </a:lnTo>
                      <a:lnTo>
                        <a:pt x="692" y="3362"/>
                      </a:lnTo>
                      <a:lnTo>
                        <a:pt x="764" y="3418"/>
                      </a:lnTo>
                      <a:lnTo>
                        <a:pt x="838" y="3471"/>
                      </a:lnTo>
                      <a:lnTo>
                        <a:pt x="915" y="3521"/>
                      </a:lnTo>
                      <a:lnTo>
                        <a:pt x="995" y="3566"/>
                      </a:lnTo>
                      <a:lnTo>
                        <a:pt x="1077" y="3608"/>
                      </a:lnTo>
                      <a:lnTo>
                        <a:pt x="1161" y="3646"/>
                      </a:lnTo>
                      <a:lnTo>
                        <a:pt x="1247" y="3680"/>
                      </a:lnTo>
                      <a:lnTo>
                        <a:pt x="1335" y="3710"/>
                      </a:lnTo>
                      <a:lnTo>
                        <a:pt x="1424" y="3735"/>
                      </a:lnTo>
                      <a:lnTo>
                        <a:pt x="1516" y="3757"/>
                      </a:lnTo>
                      <a:lnTo>
                        <a:pt x="1610" y="3774"/>
                      </a:lnTo>
                      <a:lnTo>
                        <a:pt x="1704" y="3786"/>
                      </a:lnTo>
                      <a:lnTo>
                        <a:pt x="1800" y="3793"/>
                      </a:lnTo>
                      <a:lnTo>
                        <a:pt x="1897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66" name="Text Box 294"/>
                <p:cNvSpPr txBox="1">
                  <a:spLocks noChangeArrowheads="1"/>
                </p:cNvSpPr>
                <p:nvPr/>
              </p:nvSpPr>
              <p:spPr bwMode="auto">
                <a:xfrm>
                  <a:off x="3549" y="2535"/>
                  <a:ext cx="901" cy="2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Assessmen</a:t>
                  </a:r>
                  <a:r>
                    <a:rPr lang="en-US" sz="1600" dirty="0">
                      <a:solidFill>
                        <a:srgbClr val="FFD911"/>
                      </a:solidFill>
                      <a:latin typeface="Arial" pitchFamily="34" charset="0"/>
                      <a:ea typeface="ＭＳ Ｐゴシック" pitchFamily="34" charset="-128"/>
                    </a:rPr>
                    <a:t>t</a:t>
                  </a:r>
                </a:p>
              </p:txBody>
            </p:sp>
          </p:grpSp>
          <p:grpSp>
            <p:nvGrpSpPr>
              <p:cNvPr id="7" name="Group 295"/>
              <p:cNvGrpSpPr>
                <a:grpSpLocks/>
              </p:cNvGrpSpPr>
              <p:nvPr/>
            </p:nvGrpSpPr>
            <p:grpSpPr bwMode="auto">
              <a:xfrm>
                <a:off x="2391" y="2429"/>
                <a:ext cx="1006" cy="759"/>
                <a:chOff x="2391" y="2294"/>
                <a:chExt cx="1006" cy="759"/>
              </a:xfrm>
            </p:grpSpPr>
            <p:sp>
              <p:nvSpPr>
                <p:cNvPr id="1078568" name="Freeform 296"/>
                <p:cNvSpPr>
                  <a:spLocks/>
                </p:cNvSpPr>
                <p:nvPr/>
              </p:nvSpPr>
              <p:spPr bwMode="auto">
                <a:xfrm>
                  <a:off x="2497" y="2294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0" y="3786"/>
                    </a:cxn>
                    <a:cxn ang="0">
                      <a:pos x="2370" y="3735"/>
                    </a:cxn>
                    <a:cxn ang="0">
                      <a:pos x="2634" y="3646"/>
                    </a:cxn>
                    <a:cxn ang="0">
                      <a:pos x="2879" y="3521"/>
                    </a:cxn>
                    <a:cxn ang="0">
                      <a:pos x="3103" y="3362"/>
                    </a:cxn>
                    <a:cxn ang="0">
                      <a:pos x="3300" y="3173"/>
                    </a:cxn>
                    <a:cxn ang="0">
                      <a:pos x="3470" y="2958"/>
                    </a:cxn>
                    <a:cxn ang="0">
                      <a:pos x="3606" y="2720"/>
                    </a:cxn>
                    <a:cxn ang="0">
                      <a:pos x="3709" y="2461"/>
                    </a:cxn>
                    <a:cxn ang="0">
                      <a:pos x="3772" y="2187"/>
                    </a:cxn>
                    <a:cxn ang="0">
                      <a:pos x="3795" y="1898"/>
                    </a:cxn>
                    <a:cxn ang="0">
                      <a:pos x="3772" y="1610"/>
                    </a:cxn>
                    <a:cxn ang="0">
                      <a:pos x="3709" y="1335"/>
                    </a:cxn>
                    <a:cxn ang="0">
                      <a:pos x="3606" y="1077"/>
                    </a:cxn>
                    <a:cxn ang="0">
                      <a:pos x="3470" y="838"/>
                    </a:cxn>
                    <a:cxn ang="0">
                      <a:pos x="3300" y="623"/>
                    </a:cxn>
                    <a:cxn ang="0">
                      <a:pos x="3103" y="435"/>
                    </a:cxn>
                    <a:cxn ang="0">
                      <a:pos x="2879" y="276"/>
                    </a:cxn>
                    <a:cxn ang="0">
                      <a:pos x="2634" y="150"/>
                    </a:cxn>
                    <a:cxn ang="0">
                      <a:pos x="2370" y="60"/>
                    </a:cxn>
                    <a:cxn ang="0">
                      <a:pos x="2090" y="10"/>
                    </a:cxn>
                    <a:cxn ang="0">
                      <a:pos x="1799" y="3"/>
                    </a:cxn>
                    <a:cxn ang="0">
                      <a:pos x="1516" y="39"/>
                    </a:cxn>
                    <a:cxn ang="0">
                      <a:pos x="1246" y="116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7" y="764"/>
                    </a:cxn>
                    <a:cxn ang="0">
                      <a:pos x="229" y="995"/>
                    </a:cxn>
                    <a:cxn ang="0">
                      <a:pos x="116" y="1247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2"/>
                    </a:cxn>
                    <a:cxn ang="0">
                      <a:pos x="60" y="2372"/>
                    </a:cxn>
                    <a:cxn ang="0">
                      <a:pos x="149" y="2636"/>
                    </a:cxn>
                    <a:cxn ang="0">
                      <a:pos x="275" y="2881"/>
                    </a:cxn>
                    <a:cxn ang="0">
                      <a:pos x="434" y="3104"/>
                    </a:cxn>
                    <a:cxn ang="0">
                      <a:pos x="622" y="3302"/>
                    </a:cxn>
                    <a:cxn ang="0">
                      <a:pos x="837" y="3471"/>
                    </a:cxn>
                    <a:cxn ang="0">
                      <a:pos x="1076" y="3608"/>
                    </a:cxn>
                    <a:cxn ang="0">
                      <a:pos x="1334" y="3710"/>
                    </a:cxn>
                    <a:cxn ang="0">
                      <a:pos x="1609" y="3774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4" y="3793"/>
                      </a:lnTo>
                      <a:lnTo>
                        <a:pt x="2090" y="3786"/>
                      </a:lnTo>
                      <a:lnTo>
                        <a:pt x="2185" y="3774"/>
                      </a:lnTo>
                      <a:lnTo>
                        <a:pt x="2279" y="3757"/>
                      </a:lnTo>
                      <a:lnTo>
                        <a:pt x="2370" y="3735"/>
                      </a:lnTo>
                      <a:lnTo>
                        <a:pt x="2460" y="3710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8" y="3608"/>
                      </a:lnTo>
                      <a:lnTo>
                        <a:pt x="2800" y="3566"/>
                      </a:lnTo>
                      <a:lnTo>
                        <a:pt x="2879" y="3521"/>
                      </a:lnTo>
                      <a:lnTo>
                        <a:pt x="2957" y="3471"/>
                      </a:lnTo>
                      <a:lnTo>
                        <a:pt x="3031" y="3418"/>
                      </a:lnTo>
                      <a:lnTo>
                        <a:pt x="3103" y="3362"/>
                      </a:lnTo>
                      <a:lnTo>
                        <a:pt x="3171" y="3302"/>
                      </a:lnTo>
                      <a:lnTo>
                        <a:pt x="3238" y="3238"/>
                      </a:lnTo>
                      <a:lnTo>
                        <a:pt x="3300" y="3173"/>
                      </a:lnTo>
                      <a:lnTo>
                        <a:pt x="3360" y="3104"/>
                      </a:lnTo>
                      <a:lnTo>
                        <a:pt x="3417" y="3032"/>
                      </a:lnTo>
                      <a:lnTo>
                        <a:pt x="3470" y="2958"/>
                      </a:lnTo>
                      <a:lnTo>
                        <a:pt x="3519" y="2881"/>
                      </a:lnTo>
                      <a:lnTo>
                        <a:pt x="3565" y="2801"/>
                      </a:lnTo>
                      <a:lnTo>
                        <a:pt x="3606" y="2720"/>
                      </a:lnTo>
                      <a:lnTo>
                        <a:pt x="3644" y="2636"/>
                      </a:lnTo>
                      <a:lnTo>
                        <a:pt x="3679" y="2550"/>
                      </a:lnTo>
                      <a:lnTo>
                        <a:pt x="3709" y="2461"/>
                      </a:lnTo>
                      <a:lnTo>
                        <a:pt x="3735" y="2372"/>
                      </a:lnTo>
                      <a:lnTo>
                        <a:pt x="3756" y="2279"/>
                      </a:lnTo>
                      <a:lnTo>
                        <a:pt x="3772" y="2187"/>
                      </a:lnTo>
                      <a:lnTo>
                        <a:pt x="3785" y="2092"/>
                      </a:lnTo>
                      <a:lnTo>
                        <a:pt x="3792" y="1996"/>
                      </a:lnTo>
                      <a:lnTo>
                        <a:pt x="3795" y="1898"/>
                      </a:lnTo>
                      <a:lnTo>
                        <a:pt x="3792" y="1801"/>
                      </a:lnTo>
                      <a:lnTo>
                        <a:pt x="3785" y="1705"/>
                      </a:lnTo>
                      <a:lnTo>
                        <a:pt x="3772" y="1610"/>
                      </a:lnTo>
                      <a:lnTo>
                        <a:pt x="3756" y="1516"/>
                      </a:lnTo>
                      <a:lnTo>
                        <a:pt x="3735" y="1425"/>
                      </a:lnTo>
                      <a:lnTo>
                        <a:pt x="3709" y="1335"/>
                      </a:lnTo>
                      <a:lnTo>
                        <a:pt x="3679" y="1247"/>
                      </a:lnTo>
                      <a:lnTo>
                        <a:pt x="3644" y="1161"/>
                      </a:lnTo>
                      <a:lnTo>
                        <a:pt x="3606" y="1077"/>
                      </a:lnTo>
                      <a:lnTo>
                        <a:pt x="3565" y="995"/>
                      </a:lnTo>
                      <a:lnTo>
                        <a:pt x="3519" y="916"/>
                      </a:lnTo>
                      <a:lnTo>
                        <a:pt x="3470" y="838"/>
                      </a:lnTo>
                      <a:lnTo>
                        <a:pt x="3417" y="764"/>
                      </a:lnTo>
                      <a:lnTo>
                        <a:pt x="3360" y="692"/>
                      </a:lnTo>
                      <a:lnTo>
                        <a:pt x="3300" y="623"/>
                      </a:lnTo>
                      <a:lnTo>
                        <a:pt x="3238" y="557"/>
                      </a:lnTo>
                      <a:lnTo>
                        <a:pt x="3171" y="495"/>
                      </a:lnTo>
                      <a:lnTo>
                        <a:pt x="3103" y="435"/>
                      </a:lnTo>
                      <a:lnTo>
                        <a:pt x="3031" y="378"/>
                      </a:lnTo>
                      <a:lnTo>
                        <a:pt x="2957" y="325"/>
                      </a:lnTo>
                      <a:lnTo>
                        <a:pt x="2879" y="276"/>
                      </a:lnTo>
                      <a:lnTo>
                        <a:pt x="2800" y="230"/>
                      </a:lnTo>
                      <a:lnTo>
                        <a:pt x="2718" y="187"/>
                      </a:lnTo>
                      <a:lnTo>
                        <a:pt x="2634" y="150"/>
                      </a:lnTo>
                      <a:lnTo>
                        <a:pt x="2548" y="116"/>
                      </a:lnTo>
                      <a:lnTo>
                        <a:pt x="2460" y="86"/>
                      </a:lnTo>
                      <a:lnTo>
                        <a:pt x="2370" y="60"/>
                      </a:lnTo>
                      <a:lnTo>
                        <a:pt x="2279" y="39"/>
                      </a:lnTo>
                      <a:lnTo>
                        <a:pt x="2185" y="22"/>
                      </a:lnTo>
                      <a:lnTo>
                        <a:pt x="2090" y="10"/>
                      </a:lnTo>
                      <a:lnTo>
                        <a:pt x="1994" y="3"/>
                      </a:lnTo>
                      <a:lnTo>
                        <a:pt x="1897" y="0"/>
                      </a:lnTo>
                      <a:lnTo>
                        <a:pt x="1799" y="3"/>
                      </a:lnTo>
                      <a:lnTo>
                        <a:pt x="1703" y="10"/>
                      </a:lnTo>
                      <a:lnTo>
                        <a:pt x="1609" y="22"/>
                      </a:lnTo>
                      <a:lnTo>
                        <a:pt x="1516" y="39"/>
                      </a:lnTo>
                      <a:lnTo>
                        <a:pt x="1423" y="60"/>
                      </a:lnTo>
                      <a:lnTo>
                        <a:pt x="1334" y="86"/>
                      </a:lnTo>
                      <a:lnTo>
                        <a:pt x="1246" y="116"/>
                      </a:lnTo>
                      <a:lnTo>
                        <a:pt x="1160" y="150"/>
                      </a:lnTo>
                      <a:lnTo>
                        <a:pt x="1076" y="187"/>
                      </a:lnTo>
                      <a:lnTo>
                        <a:pt x="994" y="230"/>
                      </a:lnTo>
                      <a:lnTo>
                        <a:pt x="914" y="276"/>
                      </a:lnTo>
                      <a:lnTo>
                        <a:pt x="837" y="325"/>
                      </a:lnTo>
                      <a:lnTo>
                        <a:pt x="763" y="378"/>
                      </a:lnTo>
                      <a:lnTo>
                        <a:pt x="691" y="435"/>
                      </a:lnTo>
                      <a:lnTo>
                        <a:pt x="622" y="495"/>
                      </a:lnTo>
                      <a:lnTo>
                        <a:pt x="557" y="557"/>
                      </a:lnTo>
                      <a:lnTo>
                        <a:pt x="494" y="623"/>
                      </a:lnTo>
                      <a:lnTo>
                        <a:pt x="434" y="692"/>
                      </a:lnTo>
                      <a:lnTo>
                        <a:pt x="377" y="764"/>
                      </a:lnTo>
                      <a:lnTo>
                        <a:pt x="325" y="838"/>
                      </a:lnTo>
                      <a:lnTo>
                        <a:pt x="275" y="916"/>
                      </a:lnTo>
                      <a:lnTo>
                        <a:pt x="229" y="995"/>
                      </a:lnTo>
                      <a:lnTo>
                        <a:pt x="188" y="1077"/>
                      </a:lnTo>
                      <a:lnTo>
                        <a:pt x="149" y="1161"/>
                      </a:lnTo>
                      <a:lnTo>
                        <a:pt x="116" y="1247"/>
                      </a:lnTo>
                      <a:lnTo>
                        <a:pt x="85" y="1335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10"/>
                      </a:lnTo>
                      <a:lnTo>
                        <a:pt x="10" y="1705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6"/>
                      </a:lnTo>
                      <a:lnTo>
                        <a:pt x="10" y="2092"/>
                      </a:lnTo>
                      <a:lnTo>
                        <a:pt x="22" y="2187"/>
                      </a:lnTo>
                      <a:lnTo>
                        <a:pt x="38" y="2279"/>
                      </a:lnTo>
                      <a:lnTo>
                        <a:pt x="60" y="2372"/>
                      </a:lnTo>
                      <a:lnTo>
                        <a:pt x="85" y="2461"/>
                      </a:lnTo>
                      <a:lnTo>
                        <a:pt x="116" y="2550"/>
                      </a:lnTo>
                      <a:lnTo>
                        <a:pt x="149" y="2636"/>
                      </a:lnTo>
                      <a:lnTo>
                        <a:pt x="188" y="2720"/>
                      </a:lnTo>
                      <a:lnTo>
                        <a:pt x="229" y="2801"/>
                      </a:lnTo>
                      <a:lnTo>
                        <a:pt x="275" y="2881"/>
                      </a:lnTo>
                      <a:lnTo>
                        <a:pt x="325" y="2958"/>
                      </a:lnTo>
                      <a:lnTo>
                        <a:pt x="377" y="3032"/>
                      </a:lnTo>
                      <a:lnTo>
                        <a:pt x="434" y="3104"/>
                      </a:lnTo>
                      <a:lnTo>
                        <a:pt x="494" y="3173"/>
                      </a:lnTo>
                      <a:lnTo>
                        <a:pt x="557" y="3238"/>
                      </a:lnTo>
                      <a:lnTo>
                        <a:pt x="622" y="3302"/>
                      </a:lnTo>
                      <a:lnTo>
                        <a:pt x="691" y="3362"/>
                      </a:lnTo>
                      <a:lnTo>
                        <a:pt x="763" y="3418"/>
                      </a:lnTo>
                      <a:lnTo>
                        <a:pt x="837" y="3471"/>
                      </a:lnTo>
                      <a:lnTo>
                        <a:pt x="914" y="3521"/>
                      </a:lnTo>
                      <a:lnTo>
                        <a:pt x="994" y="3566"/>
                      </a:lnTo>
                      <a:lnTo>
                        <a:pt x="1076" y="3608"/>
                      </a:lnTo>
                      <a:lnTo>
                        <a:pt x="1160" y="3646"/>
                      </a:lnTo>
                      <a:lnTo>
                        <a:pt x="1246" y="3680"/>
                      </a:lnTo>
                      <a:lnTo>
                        <a:pt x="1334" y="3710"/>
                      </a:lnTo>
                      <a:lnTo>
                        <a:pt x="1423" y="3735"/>
                      </a:lnTo>
                      <a:lnTo>
                        <a:pt x="1516" y="3757"/>
                      </a:lnTo>
                      <a:lnTo>
                        <a:pt x="1609" y="3774"/>
                      </a:lnTo>
                      <a:lnTo>
                        <a:pt x="1703" y="3786"/>
                      </a:lnTo>
                      <a:lnTo>
                        <a:pt x="1799" y="3793"/>
                      </a:lnTo>
                      <a:lnTo>
                        <a:pt x="1897" y="3795"/>
                      </a:lnTo>
                    </a:path>
                  </a:pathLst>
                </a:custGeom>
                <a:noFill/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69" name="Text Box 297"/>
                <p:cNvSpPr txBox="1">
                  <a:spLocks noChangeArrowheads="1"/>
                </p:cNvSpPr>
                <p:nvPr/>
              </p:nvSpPr>
              <p:spPr bwMode="auto">
                <a:xfrm>
                  <a:off x="2391" y="2490"/>
                  <a:ext cx="1006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Occurrence Management</a:t>
                  </a:r>
                </a:p>
              </p:txBody>
            </p:sp>
          </p:grpSp>
          <p:sp>
            <p:nvSpPr>
              <p:cNvPr id="1078570" name="Text Box 298"/>
              <p:cNvSpPr txBox="1">
                <a:spLocks noChangeArrowheads="1"/>
              </p:cNvSpPr>
              <p:nvPr/>
            </p:nvSpPr>
            <p:spPr bwMode="auto">
              <a:xfrm>
                <a:off x="3482" y="1791"/>
                <a:ext cx="1020" cy="3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 defTabSz="457200" eaLnBrk="0" fontAlgn="base" hangingPunct="0">
                  <a:spcBef>
                    <a:spcPct val="50000"/>
                  </a:spcBef>
                  <a:spcAft>
                    <a:spcPct val="0"/>
                  </a:spcAft>
                </a:pPr>
                <a:r>
                  <a:rPr lang="en-US" sz="1600" dirty="0">
                    <a:solidFill>
                      <a:srgbClr val="FFD911"/>
                    </a:solidFill>
                    <a:ea typeface="ＭＳ Ｐゴシック" pitchFamily="34" charset="-128"/>
                  </a:rPr>
                  <a:t>Information</a:t>
                </a:r>
                <a:br>
                  <a:rPr lang="en-US" sz="1600" dirty="0">
                    <a:solidFill>
                      <a:srgbClr val="FFD911"/>
                    </a:solidFill>
                    <a:ea typeface="ＭＳ Ｐゴシック" pitchFamily="34" charset="-128"/>
                  </a:rPr>
                </a:br>
                <a:r>
                  <a:rPr lang="en-US" sz="1600" dirty="0">
                    <a:solidFill>
                      <a:srgbClr val="FFD911"/>
                    </a:solidFill>
                    <a:ea typeface="ＭＳ Ｐゴシック" pitchFamily="34" charset="-128"/>
                  </a:rPr>
                  <a:t>Management</a:t>
                </a:r>
              </a:p>
            </p:txBody>
          </p:sp>
          <p:grpSp>
            <p:nvGrpSpPr>
              <p:cNvPr id="8" name="Group 299"/>
              <p:cNvGrpSpPr>
                <a:grpSpLocks/>
              </p:cNvGrpSpPr>
              <p:nvPr/>
            </p:nvGrpSpPr>
            <p:grpSpPr bwMode="auto">
              <a:xfrm>
                <a:off x="1319" y="3245"/>
                <a:ext cx="1035" cy="759"/>
                <a:chOff x="1319" y="3110"/>
                <a:chExt cx="1035" cy="759"/>
              </a:xfrm>
            </p:grpSpPr>
            <p:sp>
              <p:nvSpPr>
                <p:cNvPr id="1078572" name="Freeform 300"/>
                <p:cNvSpPr>
                  <a:spLocks/>
                </p:cNvSpPr>
                <p:nvPr/>
              </p:nvSpPr>
              <p:spPr bwMode="auto">
                <a:xfrm>
                  <a:off x="1454" y="3110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1" y="3786"/>
                    </a:cxn>
                    <a:cxn ang="0">
                      <a:pos x="2371" y="3735"/>
                    </a:cxn>
                    <a:cxn ang="0">
                      <a:pos x="2634" y="3646"/>
                    </a:cxn>
                    <a:cxn ang="0">
                      <a:pos x="2880" y="3520"/>
                    </a:cxn>
                    <a:cxn ang="0">
                      <a:pos x="3103" y="3362"/>
                    </a:cxn>
                    <a:cxn ang="0">
                      <a:pos x="3301" y="3173"/>
                    </a:cxn>
                    <a:cxn ang="0">
                      <a:pos x="3470" y="2957"/>
                    </a:cxn>
                    <a:cxn ang="0">
                      <a:pos x="3608" y="2720"/>
                    </a:cxn>
                    <a:cxn ang="0">
                      <a:pos x="3709" y="2461"/>
                    </a:cxn>
                    <a:cxn ang="0">
                      <a:pos x="3773" y="2187"/>
                    </a:cxn>
                    <a:cxn ang="0">
                      <a:pos x="3795" y="1898"/>
                    </a:cxn>
                    <a:cxn ang="0">
                      <a:pos x="3773" y="1610"/>
                    </a:cxn>
                    <a:cxn ang="0">
                      <a:pos x="3709" y="1334"/>
                    </a:cxn>
                    <a:cxn ang="0">
                      <a:pos x="3608" y="1076"/>
                    </a:cxn>
                    <a:cxn ang="0">
                      <a:pos x="3470" y="838"/>
                    </a:cxn>
                    <a:cxn ang="0">
                      <a:pos x="3301" y="624"/>
                    </a:cxn>
                    <a:cxn ang="0">
                      <a:pos x="3103" y="435"/>
                    </a:cxn>
                    <a:cxn ang="0">
                      <a:pos x="2880" y="276"/>
                    </a:cxn>
                    <a:cxn ang="0">
                      <a:pos x="2634" y="149"/>
                    </a:cxn>
                    <a:cxn ang="0">
                      <a:pos x="2371" y="60"/>
                    </a:cxn>
                    <a:cxn ang="0">
                      <a:pos x="2091" y="10"/>
                    </a:cxn>
                    <a:cxn ang="0">
                      <a:pos x="1801" y="2"/>
                    </a:cxn>
                    <a:cxn ang="0">
                      <a:pos x="1516" y="39"/>
                    </a:cxn>
                    <a:cxn ang="0">
                      <a:pos x="1246" y="116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8" y="764"/>
                    </a:cxn>
                    <a:cxn ang="0">
                      <a:pos x="230" y="994"/>
                    </a:cxn>
                    <a:cxn ang="0">
                      <a:pos x="116" y="1247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2"/>
                    </a:cxn>
                    <a:cxn ang="0">
                      <a:pos x="60" y="2371"/>
                    </a:cxn>
                    <a:cxn ang="0">
                      <a:pos x="150" y="2636"/>
                    </a:cxn>
                    <a:cxn ang="0">
                      <a:pos x="276" y="2881"/>
                    </a:cxn>
                    <a:cxn ang="0">
                      <a:pos x="434" y="3103"/>
                    </a:cxn>
                    <a:cxn ang="0">
                      <a:pos x="623" y="3302"/>
                    </a:cxn>
                    <a:cxn ang="0">
                      <a:pos x="838" y="3471"/>
                    </a:cxn>
                    <a:cxn ang="0">
                      <a:pos x="1076" y="3608"/>
                    </a:cxn>
                    <a:cxn ang="0">
                      <a:pos x="1334" y="3710"/>
                    </a:cxn>
                    <a:cxn ang="0">
                      <a:pos x="1609" y="3774"/>
                    </a:cxn>
                    <a:cxn ang="0">
                      <a:pos x="1898" y="3795"/>
                    </a:cxn>
                  </a:cxnLst>
                  <a:rect l="0" t="0" r="r" b="b"/>
                  <a:pathLst>
                    <a:path w="3795" h="3795">
                      <a:moveTo>
                        <a:pt x="1898" y="3795"/>
                      </a:moveTo>
                      <a:lnTo>
                        <a:pt x="1995" y="3793"/>
                      </a:lnTo>
                      <a:lnTo>
                        <a:pt x="2091" y="3786"/>
                      </a:lnTo>
                      <a:lnTo>
                        <a:pt x="2185" y="3774"/>
                      </a:lnTo>
                      <a:lnTo>
                        <a:pt x="2279" y="3757"/>
                      </a:lnTo>
                      <a:lnTo>
                        <a:pt x="2371" y="3735"/>
                      </a:lnTo>
                      <a:lnTo>
                        <a:pt x="2461" y="3710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9" y="3608"/>
                      </a:lnTo>
                      <a:lnTo>
                        <a:pt x="2801" y="3565"/>
                      </a:lnTo>
                      <a:lnTo>
                        <a:pt x="2880" y="3520"/>
                      </a:lnTo>
                      <a:lnTo>
                        <a:pt x="2957" y="3471"/>
                      </a:lnTo>
                      <a:lnTo>
                        <a:pt x="3031" y="3417"/>
                      </a:lnTo>
                      <a:lnTo>
                        <a:pt x="3103" y="3362"/>
                      </a:lnTo>
                      <a:lnTo>
                        <a:pt x="3172" y="3302"/>
                      </a:lnTo>
                      <a:lnTo>
                        <a:pt x="3238" y="3238"/>
                      </a:lnTo>
                      <a:lnTo>
                        <a:pt x="3301" y="3173"/>
                      </a:lnTo>
                      <a:lnTo>
                        <a:pt x="3360" y="3103"/>
                      </a:lnTo>
                      <a:lnTo>
                        <a:pt x="3417" y="3032"/>
                      </a:lnTo>
                      <a:lnTo>
                        <a:pt x="3470" y="2957"/>
                      </a:lnTo>
                      <a:lnTo>
                        <a:pt x="3519" y="2881"/>
                      </a:lnTo>
                      <a:lnTo>
                        <a:pt x="3565" y="2801"/>
                      </a:lnTo>
                      <a:lnTo>
                        <a:pt x="3608" y="2720"/>
                      </a:lnTo>
                      <a:lnTo>
                        <a:pt x="3646" y="2636"/>
                      </a:lnTo>
                      <a:lnTo>
                        <a:pt x="3679" y="2550"/>
                      </a:lnTo>
                      <a:lnTo>
                        <a:pt x="3709" y="2461"/>
                      </a:lnTo>
                      <a:lnTo>
                        <a:pt x="3735" y="2371"/>
                      </a:lnTo>
                      <a:lnTo>
                        <a:pt x="3756" y="2279"/>
                      </a:lnTo>
                      <a:lnTo>
                        <a:pt x="3773" y="2187"/>
                      </a:lnTo>
                      <a:lnTo>
                        <a:pt x="3785" y="2092"/>
                      </a:lnTo>
                      <a:lnTo>
                        <a:pt x="3793" y="1995"/>
                      </a:lnTo>
                      <a:lnTo>
                        <a:pt x="3795" y="1898"/>
                      </a:lnTo>
                      <a:lnTo>
                        <a:pt x="3793" y="1801"/>
                      </a:lnTo>
                      <a:lnTo>
                        <a:pt x="3785" y="1705"/>
                      </a:lnTo>
                      <a:lnTo>
                        <a:pt x="3773" y="1610"/>
                      </a:lnTo>
                      <a:lnTo>
                        <a:pt x="3756" y="1516"/>
                      </a:lnTo>
                      <a:lnTo>
                        <a:pt x="3735" y="1425"/>
                      </a:lnTo>
                      <a:lnTo>
                        <a:pt x="3709" y="1334"/>
                      </a:lnTo>
                      <a:lnTo>
                        <a:pt x="3679" y="1247"/>
                      </a:lnTo>
                      <a:lnTo>
                        <a:pt x="3646" y="1161"/>
                      </a:lnTo>
                      <a:lnTo>
                        <a:pt x="3608" y="1076"/>
                      </a:lnTo>
                      <a:lnTo>
                        <a:pt x="3565" y="994"/>
                      </a:lnTo>
                      <a:lnTo>
                        <a:pt x="3519" y="916"/>
                      </a:lnTo>
                      <a:lnTo>
                        <a:pt x="3470" y="838"/>
                      </a:lnTo>
                      <a:lnTo>
                        <a:pt x="3417" y="764"/>
                      </a:lnTo>
                      <a:lnTo>
                        <a:pt x="3360" y="692"/>
                      </a:lnTo>
                      <a:lnTo>
                        <a:pt x="3301" y="624"/>
                      </a:lnTo>
                      <a:lnTo>
                        <a:pt x="3238" y="557"/>
                      </a:lnTo>
                      <a:lnTo>
                        <a:pt x="3172" y="494"/>
                      </a:lnTo>
                      <a:lnTo>
                        <a:pt x="3103" y="435"/>
                      </a:lnTo>
                      <a:lnTo>
                        <a:pt x="3031" y="378"/>
                      </a:lnTo>
                      <a:lnTo>
                        <a:pt x="2957" y="325"/>
                      </a:lnTo>
                      <a:lnTo>
                        <a:pt x="2880" y="276"/>
                      </a:lnTo>
                      <a:lnTo>
                        <a:pt x="2801" y="230"/>
                      </a:lnTo>
                      <a:lnTo>
                        <a:pt x="2719" y="188"/>
                      </a:lnTo>
                      <a:lnTo>
                        <a:pt x="2634" y="149"/>
                      </a:lnTo>
                      <a:lnTo>
                        <a:pt x="2548" y="116"/>
                      </a:lnTo>
                      <a:lnTo>
                        <a:pt x="2461" y="86"/>
                      </a:lnTo>
                      <a:lnTo>
                        <a:pt x="2371" y="60"/>
                      </a:lnTo>
                      <a:lnTo>
                        <a:pt x="2279" y="39"/>
                      </a:lnTo>
                      <a:lnTo>
                        <a:pt x="2185" y="22"/>
                      </a:lnTo>
                      <a:lnTo>
                        <a:pt x="2091" y="10"/>
                      </a:lnTo>
                      <a:lnTo>
                        <a:pt x="1995" y="2"/>
                      </a:lnTo>
                      <a:lnTo>
                        <a:pt x="1898" y="0"/>
                      </a:lnTo>
                      <a:lnTo>
                        <a:pt x="1801" y="2"/>
                      </a:lnTo>
                      <a:lnTo>
                        <a:pt x="1704" y="10"/>
                      </a:lnTo>
                      <a:lnTo>
                        <a:pt x="1609" y="22"/>
                      </a:lnTo>
                      <a:lnTo>
                        <a:pt x="1516" y="39"/>
                      </a:lnTo>
                      <a:lnTo>
                        <a:pt x="1425" y="60"/>
                      </a:lnTo>
                      <a:lnTo>
                        <a:pt x="1334" y="86"/>
                      </a:lnTo>
                      <a:lnTo>
                        <a:pt x="1246" y="116"/>
                      </a:lnTo>
                      <a:lnTo>
                        <a:pt x="1160" y="149"/>
                      </a:lnTo>
                      <a:lnTo>
                        <a:pt x="1076" y="188"/>
                      </a:lnTo>
                      <a:lnTo>
                        <a:pt x="994" y="230"/>
                      </a:lnTo>
                      <a:lnTo>
                        <a:pt x="915" y="276"/>
                      </a:lnTo>
                      <a:lnTo>
                        <a:pt x="838" y="325"/>
                      </a:lnTo>
                      <a:lnTo>
                        <a:pt x="763" y="378"/>
                      </a:lnTo>
                      <a:lnTo>
                        <a:pt x="692" y="435"/>
                      </a:lnTo>
                      <a:lnTo>
                        <a:pt x="623" y="494"/>
                      </a:lnTo>
                      <a:lnTo>
                        <a:pt x="557" y="557"/>
                      </a:lnTo>
                      <a:lnTo>
                        <a:pt x="494" y="624"/>
                      </a:lnTo>
                      <a:lnTo>
                        <a:pt x="434" y="692"/>
                      </a:lnTo>
                      <a:lnTo>
                        <a:pt x="378" y="764"/>
                      </a:lnTo>
                      <a:lnTo>
                        <a:pt x="325" y="838"/>
                      </a:lnTo>
                      <a:lnTo>
                        <a:pt x="276" y="916"/>
                      </a:lnTo>
                      <a:lnTo>
                        <a:pt x="230" y="994"/>
                      </a:lnTo>
                      <a:lnTo>
                        <a:pt x="188" y="1076"/>
                      </a:lnTo>
                      <a:lnTo>
                        <a:pt x="150" y="1161"/>
                      </a:lnTo>
                      <a:lnTo>
                        <a:pt x="116" y="1247"/>
                      </a:lnTo>
                      <a:lnTo>
                        <a:pt x="85" y="1334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10"/>
                      </a:lnTo>
                      <a:lnTo>
                        <a:pt x="10" y="1705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5"/>
                      </a:lnTo>
                      <a:lnTo>
                        <a:pt x="10" y="2092"/>
                      </a:lnTo>
                      <a:lnTo>
                        <a:pt x="22" y="2187"/>
                      </a:lnTo>
                      <a:lnTo>
                        <a:pt x="38" y="2279"/>
                      </a:lnTo>
                      <a:lnTo>
                        <a:pt x="60" y="2371"/>
                      </a:lnTo>
                      <a:lnTo>
                        <a:pt x="85" y="2461"/>
                      </a:lnTo>
                      <a:lnTo>
                        <a:pt x="116" y="2550"/>
                      </a:lnTo>
                      <a:lnTo>
                        <a:pt x="150" y="2636"/>
                      </a:lnTo>
                      <a:lnTo>
                        <a:pt x="188" y="2720"/>
                      </a:lnTo>
                      <a:lnTo>
                        <a:pt x="230" y="2801"/>
                      </a:lnTo>
                      <a:lnTo>
                        <a:pt x="276" y="2881"/>
                      </a:lnTo>
                      <a:lnTo>
                        <a:pt x="325" y="2957"/>
                      </a:lnTo>
                      <a:lnTo>
                        <a:pt x="378" y="3032"/>
                      </a:lnTo>
                      <a:lnTo>
                        <a:pt x="434" y="3103"/>
                      </a:lnTo>
                      <a:lnTo>
                        <a:pt x="494" y="3173"/>
                      </a:lnTo>
                      <a:lnTo>
                        <a:pt x="557" y="3238"/>
                      </a:lnTo>
                      <a:lnTo>
                        <a:pt x="623" y="3302"/>
                      </a:lnTo>
                      <a:lnTo>
                        <a:pt x="692" y="3362"/>
                      </a:lnTo>
                      <a:lnTo>
                        <a:pt x="763" y="3417"/>
                      </a:lnTo>
                      <a:lnTo>
                        <a:pt x="838" y="3471"/>
                      </a:lnTo>
                      <a:lnTo>
                        <a:pt x="915" y="3520"/>
                      </a:lnTo>
                      <a:lnTo>
                        <a:pt x="994" y="3565"/>
                      </a:lnTo>
                      <a:lnTo>
                        <a:pt x="1076" y="3608"/>
                      </a:lnTo>
                      <a:lnTo>
                        <a:pt x="1160" y="3646"/>
                      </a:lnTo>
                      <a:lnTo>
                        <a:pt x="1246" y="3680"/>
                      </a:lnTo>
                      <a:lnTo>
                        <a:pt x="1334" y="3710"/>
                      </a:lnTo>
                      <a:lnTo>
                        <a:pt x="1425" y="3735"/>
                      </a:lnTo>
                      <a:lnTo>
                        <a:pt x="1516" y="3757"/>
                      </a:lnTo>
                      <a:lnTo>
                        <a:pt x="1609" y="3774"/>
                      </a:lnTo>
                      <a:lnTo>
                        <a:pt x="1704" y="3786"/>
                      </a:lnTo>
                      <a:lnTo>
                        <a:pt x="1801" y="3793"/>
                      </a:lnTo>
                      <a:lnTo>
                        <a:pt x="1898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73" name="Text Box 301"/>
                <p:cNvSpPr txBox="1">
                  <a:spLocks noChangeArrowheads="1"/>
                </p:cNvSpPr>
                <p:nvPr/>
              </p:nvSpPr>
              <p:spPr bwMode="auto">
                <a:xfrm>
                  <a:off x="1319" y="3290"/>
                  <a:ext cx="1035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Process </a:t>
                  </a:r>
                  <a:b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</a:b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Improvement</a:t>
                  </a:r>
                </a:p>
              </p:txBody>
            </p:sp>
          </p:grpSp>
          <p:grpSp>
            <p:nvGrpSpPr>
              <p:cNvPr id="9" name="Group 302"/>
              <p:cNvGrpSpPr>
                <a:grpSpLocks/>
              </p:cNvGrpSpPr>
              <p:nvPr/>
            </p:nvGrpSpPr>
            <p:grpSpPr bwMode="auto">
              <a:xfrm>
                <a:off x="2487" y="3245"/>
                <a:ext cx="816" cy="759"/>
                <a:chOff x="2487" y="3110"/>
                <a:chExt cx="816" cy="759"/>
              </a:xfrm>
            </p:grpSpPr>
            <p:sp>
              <p:nvSpPr>
                <p:cNvPr id="1078575" name="Freeform 303"/>
                <p:cNvSpPr>
                  <a:spLocks/>
                </p:cNvSpPr>
                <p:nvPr/>
              </p:nvSpPr>
              <p:spPr bwMode="auto">
                <a:xfrm>
                  <a:off x="2511" y="3110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0" y="3786"/>
                    </a:cxn>
                    <a:cxn ang="0">
                      <a:pos x="2370" y="3735"/>
                    </a:cxn>
                    <a:cxn ang="0">
                      <a:pos x="2634" y="3646"/>
                    </a:cxn>
                    <a:cxn ang="0">
                      <a:pos x="2879" y="3520"/>
                    </a:cxn>
                    <a:cxn ang="0">
                      <a:pos x="3103" y="3362"/>
                    </a:cxn>
                    <a:cxn ang="0">
                      <a:pos x="3300" y="3173"/>
                    </a:cxn>
                    <a:cxn ang="0">
                      <a:pos x="3470" y="2957"/>
                    </a:cxn>
                    <a:cxn ang="0">
                      <a:pos x="3606" y="2720"/>
                    </a:cxn>
                    <a:cxn ang="0">
                      <a:pos x="3708" y="2461"/>
                    </a:cxn>
                    <a:cxn ang="0">
                      <a:pos x="3772" y="2187"/>
                    </a:cxn>
                    <a:cxn ang="0">
                      <a:pos x="3795" y="1898"/>
                    </a:cxn>
                    <a:cxn ang="0">
                      <a:pos x="3772" y="1610"/>
                    </a:cxn>
                    <a:cxn ang="0">
                      <a:pos x="3708" y="1334"/>
                    </a:cxn>
                    <a:cxn ang="0">
                      <a:pos x="3606" y="1076"/>
                    </a:cxn>
                    <a:cxn ang="0">
                      <a:pos x="3470" y="838"/>
                    </a:cxn>
                    <a:cxn ang="0">
                      <a:pos x="3300" y="624"/>
                    </a:cxn>
                    <a:cxn ang="0">
                      <a:pos x="3103" y="435"/>
                    </a:cxn>
                    <a:cxn ang="0">
                      <a:pos x="2879" y="276"/>
                    </a:cxn>
                    <a:cxn ang="0">
                      <a:pos x="2634" y="149"/>
                    </a:cxn>
                    <a:cxn ang="0">
                      <a:pos x="2370" y="60"/>
                    </a:cxn>
                    <a:cxn ang="0">
                      <a:pos x="2090" y="10"/>
                    </a:cxn>
                    <a:cxn ang="0">
                      <a:pos x="1799" y="2"/>
                    </a:cxn>
                    <a:cxn ang="0">
                      <a:pos x="1516" y="39"/>
                    </a:cxn>
                    <a:cxn ang="0">
                      <a:pos x="1245" y="116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7" y="764"/>
                    </a:cxn>
                    <a:cxn ang="0">
                      <a:pos x="229" y="994"/>
                    </a:cxn>
                    <a:cxn ang="0">
                      <a:pos x="115" y="1247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2"/>
                    </a:cxn>
                    <a:cxn ang="0">
                      <a:pos x="60" y="2371"/>
                    </a:cxn>
                    <a:cxn ang="0">
                      <a:pos x="149" y="2636"/>
                    </a:cxn>
                    <a:cxn ang="0">
                      <a:pos x="274" y="2881"/>
                    </a:cxn>
                    <a:cxn ang="0">
                      <a:pos x="434" y="3103"/>
                    </a:cxn>
                    <a:cxn ang="0">
                      <a:pos x="622" y="3302"/>
                    </a:cxn>
                    <a:cxn ang="0">
                      <a:pos x="837" y="3471"/>
                    </a:cxn>
                    <a:cxn ang="0">
                      <a:pos x="1075" y="3608"/>
                    </a:cxn>
                    <a:cxn ang="0">
                      <a:pos x="1334" y="3710"/>
                    </a:cxn>
                    <a:cxn ang="0">
                      <a:pos x="1608" y="3774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4" y="3793"/>
                      </a:lnTo>
                      <a:lnTo>
                        <a:pt x="2090" y="3786"/>
                      </a:lnTo>
                      <a:lnTo>
                        <a:pt x="2185" y="3774"/>
                      </a:lnTo>
                      <a:lnTo>
                        <a:pt x="2279" y="3757"/>
                      </a:lnTo>
                      <a:lnTo>
                        <a:pt x="2370" y="3735"/>
                      </a:lnTo>
                      <a:lnTo>
                        <a:pt x="2460" y="3710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8" y="3608"/>
                      </a:lnTo>
                      <a:lnTo>
                        <a:pt x="2800" y="3565"/>
                      </a:lnTo>
                      <a:lnTo>
                        <a:pt x="2879" y="3520"/>
                      </a:lnTo>
                      <a:lnTo>
                        <a:pt x="2956" y="3471"/>
                      </a:lnTo>
                      <a:lnTo>
                        <a:pt x="3031" y="3417"/>
                      </a:lnTo>
                      <a:lnTo>
                        <a:pt x="3103" y="3362"/>
                      </a:lnTo>
                      <a:lnTo>
                        <a:pt x="3171" y="3302"/>
                      </a:lnTo>
                      <a:lnTo>
                        <a:pt x="3238" y="3238"/>
                      </a:lnTo>
                      <a:lnTo>
                        <a:pt x="3300" y="3173"/>
                      </a:lnTo>
                      <a:lnTo>
                        <a:pt x="3360" y="3103"/>
                      </a:lnTo>
                      <a:lnTo>
                        <a:pt x="3416" y="3032"/>
                      </a:lnTo>
                      <a:lnTo>
                        <a:pt x="3470" y="2957"/>
                      </a:lnTo>
                      <a:lnTo>
                        <a:pt x="3519" y="2881"/>
                      </a:lnTo>
                      <a:lnTo>
                        <a:pt x="3565" y="2801"/>
                      </a:lnTo>
                      <a:lnTo>
                        <a:pt x="3606" y="2720"/>
                      </a:lnTo>
                      <a:lnTo>
                        <a:pt x="3644" y="2636"/>
                      </a:lnTo>
                      <a:lnTo>
                        <a:pt x="3679" y="2550"/>
                      </a:lnTo>
                      <a:lnTo>
                        <a:pt x="3708" y="2461"/>
                      </a:lnTo>
                      <a:lnTo>
                        <a:pt x="3735" y="2371"/>
                      </a:lnTo>
                      <a:lnTo>
                        <a:pt x="3755" y="2279"/>
                      </a:lnTo>
                      <a:lnTo>
                        <a:pt x="3772" y="2187"/>
                      </a:lnTo>
                      <a:lnTo>
                        <a:pt x="3785" y="2092"/>
                      </a:lnTo>
                      <a:lnTo>
                        <a:pt x="3791" y="1995"/>
                      </a:lnTo>
                      <a:lnTo>
                        <a:pt x="3795" y="1898"/>
                      </a:lnTo>
                      <a:lnTo>
                        <a:pt x="3791" y="1801"/>
                      </a:lnTo>
                      <a:lnTo>
                        <a:pt x="3785" y="1705"/>
                      </a:lnTo>
                      <a:lnTo>
                        <a:pt x="3772" y="1610"/>
                      </a:lnTo>
                      <a:lnTo>
                        <a:pt x="3755" y="1516"/>
                      </a:lnTo>
                      <a:lnTo>
                        <a:pt x="3735" y="1425"/>
                      </a:lnTo>
                      <a:lnTo>
                        <a:pt x="3708" y="1334"/>
                      </a:lnTo>
                      <a:lnTo>
                        <a:pt x="3679" y="1247"/>
                      </a:lnTo>
                      <a:lnTo>
                        <a:pt x="3644" y="1161"/>
                      </a:lnTo>
                      <a:lnTo>
                        <a:pt x="3606" y="1076"/>
                      </a:lnTo>
                      <a:lnTo>
                        <a:pt x="3565" y="994"/>
                      </a:lnTo>
                      <a:lnTo>
                        <a:pt x="3519" y="916"/>
                      </a:lnTo>
                      <a:lnTo>
                        <a:pt x="3470" y="838"/>
                      </a:lnTo>
                      <a:lnTo>
                        <a:pt x="3416" y="764"/>
                      </a:lnTo>
                      <a:lnTo>
                        <a:pt x="3360" y="692"/>
                      </a:lnTo>
                      <a:lnTo>
                        <a:pt x="3300" y="624"/>
                      </a:lnTo>
                      <a:lnTo>
                        <a:pt x="3238" y="557"/>
                      </a:lnTo>
                      <a:lnTo>
                        <a:pt x="3171" y="494"/>
                      </a:lnTo>
                      <a:lnTo>
                        <a:pt x="3103" y="435"/>
                      </a:lnTo>
                      <a:lnTo>
                        <a:pt x="3031" y="378"/>
                      </a:lnTo>
                      <a:lnTo>
                        <a:pt x="2956" y="325"/>
                      </a:lnTo>
                      <a:lnTo>
                        <a:pt x="2879" y="276"/>
                      </a:lnTo>
                      <a:lnTo>
                        <a:pt x="2800" y="230"/>
                      </a:lnTo>
                      <a:lnTo>
                        <a:pt x="2718" y="188"/>
                      </a:lnTo>
                      <a:lnTo>
                        <a:pt x="2634" y="149"/>
                      </a:lnTo>
                      <a:lnTo>
                        <a:pt x="2548" y="116"/>
                      </a:lnTo>
                      <a:lnTo>
                        <a:pt x="2460" y="86"/>
                      </a:lnTo>
                      <a:lnTo>
                        <a:pt x="2370" y="60"/>
                      </a:lnTo>
                      <a:lnTo>
                        <a:pt x="2279" y="39"/>
                      </a:lnTo>
                      <a:lnTo>
                        <a:pt x="2185" y="22"/>
                      </a:lnTo>
                      <a:lnTo>
                        <a:pt x="2090" y="10"/>
                      </a:lnTo>
                      <a:lnTo>
                        <a:pt x="1994" y="2"/>
                      </a:lnTo>
                      <a:lnTo>
                        <a:pt x="1897" y="0"/>
                      </a:lnTo>
                      <a:lnTo>
                        <a:pt x="1799" y="2"/>
                      </a:lnTo>
                      <a:lnTo>
                        <a:pt x="1703" y="10"/>
                      </a:lnTo>
                      <a:lnTo>
                        <a:pt x="1608" y="22"/>
                      </a:lnTo>
                      <a:lnTo>
                        <a:pt x="1516" y="39"/>
                      </a:lnTo>
                      <a:lnTo>
                        <a:pt x="1423" y="60"/>
                      </a:lnTo>
                      <a:lnTo>
                        <a:pt x="1334" y="86"/>
                      </a:lnTo>
                      <a:lnTo>
                        <a:pt x="1245" y="116"/>
                      </a:lnTo>
                      <a:lnTo>
                        <a:pt x="1159" y="149"/>
                      </a:lnTo>
                      <a:lnTo>
                        <a:pt x="1075" y="188"/>
                      </a:lnTo>
                      <a:lnTo>
                        <a:pt x="994" y="230"/>
                      </a:lnTo>
                      <a:lnTo>
                        <a:pt x="914" y="276"/>
                      </a:lnTo>
                      <a:lnTo>
                        <a:pt x="837" y="325"/>
                      </a:lnTo>
                      <a:lnTo>
                        <a:pt x="763" y="378"/>
                      </a:lnTo>
                      <a:lnTo>
                        <a:pt x="691" y="435"/>
                      </a:lnTo>
                      <a:lnTo>
                        <a:pt x="622" y="494"/>
                      </a:lnTo>
                      <a:lnTo>
                        <a:pt x="557" y="557"/>
                      </a:lnTo>
                      <a:lnTo>
                        <a:pt x="494" y="624"/>
                      </a:lnTo>
                      <a:lnTo>
                        <a:pt x="434" y="692"/>
                      </a:lnTo>
                      <a:lnTo>
                        <a:pt x="377" y="764"/>
                      </a:lnTo>
                      <a:lnTo>
                        <a:pt x="325" y="838"/>
                      </a:lnTo>
                      <a:lnTo>
                        <a:pt x="274" y="916"/>
                      </a:lnTo>
                      <a:lnTo>
                        <a:pt x="229" y="994"/>
                      </a:lnTo>
                      <a:lnTo>
                        <a:pt x="187" y="1076"/>
                      </a:lnTo>
                      <a:lnTo>
                        <a:pt x="149" y="1161"/>
                      </a:lnTo>
                      <a:lnTo>
                        <a:pt x="115" y="1247"/>
                      </a:lnTo>
                      <a:lnTo>
                        <a:pt x="85" y="1334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10"/>
                      </a:lnTo>
                      <a:lnTo>
                        <a:pt x="10" y="1705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5"/>
                      </a:lnTo>
                      <a:lnTo>
                        <a:pt x="10" y="2092"/>
                      </a:lnTo>
                      <a:lnTo>
                        <a:pt x="22" y="2187"/>
                      </a:lnTo>
                      <a:lnTo>
                        <a:pt x="38" y="2279"/>
                      </a:lnTo>
                      <a:lnTo>
                        <a:pt x="60" y="2371"/>
                      </a:lnTo>
                      <a:lnTo>
                        <a:pt x="85" y="2461"/>
                      </a:lnTo>
                      <a:lnTo>
                        <a:pt x="115" y="2550"/>
                      </a:lnTo>
                      <a:lnTo>
                        <a:pt x="149" y="2636"/>
                      </a:lnTo>
                      <a:lnTo>
                        <a:pt x="187" y="2720"/>
                      </a:lnTo>
                      <a:lnTo>
                        <a:pt x="229" y="2801"/>
                      </a:lnTo>
                      <a:lnTo>
                        <a:pt x="274" y="2881"/>
                      </a:lnTo>
                      <a:lnTo>
                        <a:pt x="325" y="2957"/>
                      </a:lnTo>
                      <a:lnTo>
                        <a:pt x="377" y="3032"/>
                      </a:lnTo>
                      <a:lnTo>
                        <a:pt x="434" y="3103"/>
                      </a:lnTo>
                      <a:lnTo>
                        <a:pt x="494" y="3173"/>
                      </a:lnTo>
                      <a:lnTo>
                        <a:pt x="557" y="3238"/>
                      </a:lnTo>
                      <a:lnTo>
                        <a:pt x="622" y="3302"/>
                      </a:lnTo>
                      <a:lnTo>
                        <a:pt x="691" y="3362"/>
                      </a:lnTo>
                      <a:lnTo>
                        <a:pt x="763" y="3417"/>
                      </a:lnTo>
                      <a:lnTo>
                        <a:pt x="837" y="3471"/>
                      </a:lnTo>
                      <a:lnTo>
                        <a:pt x="914" y="3520"/>
                      </a:lnTo>
                      <a:lnTo>
                        <a:pt x="994" y="3565"/>
                      </a:lnTo>
                      <a:lnTo>
                        <a:pt x="1075" y="3608"/>
                      </a:lnTo>
                      <a:lnTo>
                        <a:pt x="1159" y="3646"/>
                      </a:lnTo>
                      <a:lnTo>
                        <a:pt x="1245" y="3680"/>
                      </a:lnTo>
                      <a:lnTo>
                        <a:pt x="1334" y="3710"/>
                      </a:lnTo>
                      <a:lnTo>
                        <a:pt x="1423" y="3735"/>
                      </a:lnTo>
                      <a:lnTo>
                        <a:pt x="1516" y="3757"/>
                      </a:lnTo>
                      <a:lnTo>
                        <a:pt x="1608" y="3774"/>
                      </a:lnTo>
                      <a:lnTo>
                        <a:pt x="1703" y="3786"/>
                      </a:lnTo>
                      <a:lnTo>
                        <a:pt x="1799" y="3793"/>
                      </a:lnTo>
                      <a:lnTo>
                        <a:pt x="1897" y="3795"/>
                      </a:lnTo>
                    </a:path>
                  </a:pathLst>
                </a:custGeom>
                <a:noFill/>
                <a:ln w="3175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76" name="Text Box 304"/>
                <p:cNvSpPr txBox="1">
                  <a:spLocks noChangeArrowheads="1"/>
                </p:cNvSpPr>
                <p:nvPr/>
              </p:nvSpPr>
              <p:spPr bwMode="auto">
                <a:xfrm>
                  <a:off x="2487" y="3323"/>
                  <a:ext cx="816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Customer </a:t>
                  </a:r>
                  <a:b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</a:b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10" name="Group 305"/>
              <p:cNvGrpSpPr>
                <a:grpSpLocks/>
              </p:cNvGrpSpPr>
              <p:nvPr/>
            </p:nvGrpSpPr>
            <p:grpSpPr bwMode="auto">
              <a:xfrm>
                <a:off x="3553" y="3245"/>
                <a:ext cx="816" cy="759"/>
                <a:chOff x="3553" y="3110"/>
                <a:chExt cx="816" cy="759"/>
              </a:xfrm>
            </p:grpSpPr>
            <p:sp>
              <p:nvSpPr>
                <p:cNvPr id="1078578" name="Freeform 306"/>
                <p:cNvSpPr>
                  <a:spLocks/>
                </p:cNvSpPr>
                <p:nvPr/>
              </p:nvSpPr>
              <p:spPr bwMode="auto">
                <a:xfrm>
                  <a:off x="3586" y="3110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1" y="3786"/>
                    </a:cxn>
                    <a:cxn ang="0">
                      <a:pos x="2371" y="3735"/>
                    </a:cxn>
                    <a:cxn ang="0">
                      <a:pos x="2635" y="3646"/>
                    </a:cxn>
                    <a:cxn ang="0">
                      <a:pos x="2880" y="3520"/>
                    </a:cxn>
                    <a:cxn ang="0">
                      <a:pos x="3104" y="3362"/>
                    </a:cxn>
                    <a:cxn ang="0">
                      <a:pos x="3301" y="3173"/>
                    </a:cxn>
                    <a:cxn ang="0">
                      <a:pos x="3470" y="2957"/>
                    </a:cxn>
                    <a:cxn ang="0">
                      <a:pos x="3607" y="2720"/>
                    </a:cxn>
                    <a:cxn ang="0">
                      <a:pos x="3710" y="2461"/>
                    </a:cxn>
                    <a:cxn ang="0">
                      <a:pos x="3773" y="2187"/>
                    </a:cxn>
                    <a:cxn ang="0">
                      <a:pos x="3795" y="1898"/>
                    </a:cxn>
                    <a:cxn ang="0">
                      <a:pos x="3773" y="1610"/>
                    </a:cxn>
                    <a:cxn ang="0">
                      <a:pos x="3710" y="1334"/>
                    </a:cxn>
                    <a:cxn ang="0">
                      <a:pos x="3607" y="1076"/>
                    </a:cxn>
                    <a:cxn ang="0">
                      <a:pos x="3470" y="838"/>
                    </a:cxn>
                    <a:cxn ang="0">
                      <a:pos x="3301" y="624"/>
                    </a:cxn>
                    <a:cxn ang="0">
                      <a:pos x="3104" y="435"/>
                    </a:cxn>
                    <a:cxn ang="0">
                      <a:pos x="2880" y="276"/>
                    </a:cxn>
                    <a:cxn ang="0">
                      <a:pos x="2635" y="149"/>
                    </a:cxn>
                    <a:cxn ang="0">
                      <a:pos x="2371" y="60"/>
                    </a:cxn>
                    <a:cxn ang="0">
                      <a:pos x="2091" y="10"/>
                    </a:cxn>
                    <a:cxn ang="0">
                      <a:pos x="1800" y="2"/>
                    </a:cxn>
                    <a:cxn ang="0">
                      <a:pos x="1516" y="39"/>
                    </a:cxn>
                    <a:cxn ang="0">
                      <a:pos x="1247" y="116"/>
                    </a:cxn>
                    <a:cxn ang="0">
                      <a:pos x="995" y="230"/>
                    </a:cxn>
                    <a:cxn ang="0">
                      <a:pos x="764" y="378"/>
                    </a:cxn>
                    <a:cxn ang="0">
                      <a:pos x="557" y="557"/>
                    </a:cxn>
                    <a:cxn ang="0">
                      <a:pos x="378" y="764"/>
                    </a:cxn>
                    <a:cxn ang="0">
                      <a:pos x="230" y="994"/>
                    </a:cxn>
                    <a:cxn ang="0">
                      <a:pos x="115" y="1247"/>
                    </a:cxn>
                    <a:cxn ang="0">
                      <a:pos x="39" y="1516"/>
                    </a:cxn>
                    <a:cxn ang="0">
                      <a:pos x="3" y="1801"/>
                    </a:cxn>
                    <a:cxn ang="0">
                      <a:pos x="10" y="2092"/>
                    </a:cxn>
                    <a:cxn ang="0">
                      <a:pos x="60" y="2371"/>
                    </a:cxn>
                    <a:cxn ang="0">
                      <a:pos x="150" y="2636"/>
                    </a:cxn>
                    <a:cxn ang="0">
                      <a:pos x="276" y="2881"/>
                    </a:cxn>
                    <a:cxn ang="0">
                      <a:pos x="435" y="3103"/>
                    </a:cxn>
                    <a:cxn ang="0">
                      <a:pos x="623" y="3302"/>
                    </a:cxn>
                    <a:cxn ang="0">
                      <a:pos x="838" y="3471"/>
                    </a:cxn>
                    <a:cxn ang="0">
                      <a:pos x="1077" y="3608"/>
                    </a:cxn>
                    <a:cxn ang="0">
                      <a:pos x="1335" y="3710"/>
                    </a:cxn>
                    <a:cxn ang="0">
                      <a:pos x="1610" y="3774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5" y="3793"/>
                      </a:lnTo>
                      <a:lnTo>
                        <a:pt x="2091" y="3786"/>
                      </a:lnTo>
                      <a:lnTo>
                        <a:pt x="2186" y="3774"/>
                      </a:lnTo>
                      <a:lnTo>
                        <a:pt x="2279" y="3757"/>
                      </a:lnTo>
                      <a:lnTo>
                        <a:pt x="2371" y="3735"/>
                      </a:lnTo>
                      <a:lnTo>
                        <a:pt x="2461" y="3710"/>
                      </a:lnTo>
                      <a:lnTo>
                        <a:pt x="2549" y="3680"/>
                      </a:lnTo>
                      <a:lnTo>
                        <a:pt x="2635" y="3646"/>
                      </a:lnTo>
                      <a:lnTo>
                        <a:pt x="2719" y="3608"/>
                      </a:lnTo>
                      <a:lnTo>
                        <a:pt x="2801" y="3565"/>
                      </a:lnTo>
                      <a:lnTo>
                        <a:pt x="2880" y="3520"/>
                      </a:lnTo>
                      <a:lnTo>
                        <a:pt x="2958" y="3471"/>
                      </a:lnTo>
                      <a:lnTo>
                        <a:pt x="3032" y="3417"/>
                      </a:lnTo>
                      <a:lnTo>
                        <a:pt x="3104" y="3362"/>
                      </a:lnTo>
                      <a:lnTo>
                        <a:pt x="3172" y="3302"/>
                      </a:lnTo>
                      <a:lnTo>
                        <a:pt x="3238" y="3238"/>
                      </a:lnTo>
                      <a:lnTo>
                        <a:pt x="3301" y="3173"/>
                      </a:lnTo>
                      <a:lnTo>
                        <a:pt x="3361" y="3103"/>
                      </a:lnTo>
                      <a:lnTo>
                        <a:pt x="3418" y="3032"/>
                      </a:lnTo>
                      <a:lnTo>
                        <a:pt x="3470" y="2957"/>
                      </a:lnTo>
                      <a:lnTo>
                        <a:pt x="3520" y="2881"/>
                      </a:lnTo>
                      <a:lnTo>
                        <a:pt x="3566" y="2801"/>
                      </a:lnTo>
                      <a:lnTo>
                        <a:pt x="3607" y="2720"/>
                      </a:lnTo>
                      <a:lnTo>
                        <a:pt x="3645" y="2636"/>
                      </a:lnTo>
                      <a:lnTo>
                        <a:pt x="3679" y="2550"/>
                      </a:lnTo>
                      <a:lnTo>
                        <a:pt x="3710" y="2461"/>
                      </a:lnTo>
                      <a:lnTo>
                        <a:pt x="3735" y="2371"/>
                      </a:lnTo>
                      <a:lnTo>
                        <a:pt x="3756" y="2279"/>
                      </a:lnTo>
                      <a:lnTo>
                        <a:pt x="3773" y="2187"/>
                      </a:lnTo>
                      <a:lnTo>
                        <a:pt x="3785" y="2092"/>
                      </a:lnTo>
                      <a:lnTo>
                        <a:pt x="3792" y="1995"/>
                      </a:lnTo>
                      <a:lnTo>
                        <a:pt x="3795" y="1898"/>
                      </a:lnTo>
                      <a:lnTo>
                        <a:pt x="3792" y="1801"/>
                      </a:lnTo>
                      <a:lnTo>
                        <a:pt x="3785" y="1705"/>
                      </a:lnTo>
                      <a:lnTo>
                        <a:pt x="3773" y="1610"/>
                      </a:lnTo>
                      <a:lnTo>
                        <a:pt x="3756" y="1516"/>
                      </a:lnTo>
                      <a:lnTo>
                        <a:pt x="3735" y="1425"/>
                      </a:lnTo>
                      <a:lnTo>
                        <a:pt x="3710" y="1334"/>
                      </a:lnTo>
                      <a:lnTo>
                        <a:pt x="3679" y="1247"/>
                      </a:lnTo>
                      <a:lnTo>
                        <a:pt x="3645" y="1161"/>
                      </a:lnTo>
                      <a:lnTo>
                        <a:pt x="3607" y="1076"/>
                      </a:lnTo>
                      <a:lnTo>
                        <a:pt x="3566" y="994"/>
                      </a:lnTo>
                      <a:lnTo>
                        <a:pt x="3520" y="916"/>
                      </a:lnTo>
                      <a:lnTo>
                        <a:pt x="3470" y="838"/>
                      </a:lnTo>
                      <a:lnTo>
                        <a:pt x="3418" y="764"/>
                      </a:lnTo>
                      <a:lnTo>
                        <a:pt x="3361" y="692"/>
                      </a:lnTo>
                      <a:lnTo>
                        <a:pt x="3301" y="624"/>
                      </a:lnTo>
                      <a:lnTo>
                        <a:pt x="3238" y="557"/>
                      </a:lnTo>
                      <a:lnTo>
                        <a:pt x="3172" y="494"/>
                      </a:lnTo>
                      <a:lnTo>
                        <a:pt x="3104" y="435"/>
                      </a:lnTo>
                      <a:lnTo>
                        <a:pt x="3032" y="378"/>
                      </a:lnTo>
                      <a:lnTo>
                        <a:pt x="2958" y="325"/>
                      </a:lnTo>
                      <a:lnTo>
                        <a:pt x="2880" y="276"/>
                      </a:lnTo>
                      <a:lnTo>
                        <a:pt x="2801" y="230"/>
                      </a:lnTo>
                      <a:lnTo>
                        <a:pt x="2719" y="188"/>
                      </a:lnTo>
                      <a:lnTo>
                        <a:pt x="2635" y="149"/>
                      </a:lnTo>
                      <a:lnTo>
                        <a:pt x="2549" y="116"/>
                      </a:lnTo>
                      <a:lnTo>
                        <a:pt x="2461" y="86"/>
                      </a:lnTo>
                      <a:lnTo>
                        <a:pt x="2371" y="60"/>
                      </a:lnTo>
                      <a:lnTo>
                        <a:pt x="2279" y="39"/>
                      </a:lnTo>
                      <a:lnTo>
                        <a:pt x="2186" y="22"/>
                      </a:lnTo>
                      <a:lnTo>
                        <a:pt x="2091" y="10"/>
                      </a:lnTo>
                      <a:lnTo>
                        <a:pt x="1995" y="2"/>
                      </a:lnTo>
                      <a:lnTo>
                        <a:pt x="1897" y="0"/>
                      </a:lnTo>
                      <a:lnTo>
                        <a:pt x="1800" y="2"/>
                      </a:lnTo>
                      <a:lnTo>
                        <a:pt x="1704" y="10"/>
                      </a:lnTo>
                      <a:lnTo>
                        <a:pt x="1610" y="22"/>
                      </a:lnTo>
                      <a:lnTo>
                        <a:pt x="1516" y="39"/>
                      </a:lnTo>
                      <a:lnTo>
                        <a:pt x="1424" y="60"/>
                      </a:lnTo>
                      <a:lnTo>
                        <a:pt x="1335" y="86"/>
                      </a:lnTo>
                      <a:lnTo>
                        <a:pt x="1247" y="116"/>
                      </a:lnTo>
                      <a:lnTo>
                        <a:pt x="1161" y="149"/>
                      </a:lnTo>
                      <a:lnTo>
                        <a:pt x="1077" y="188"/>
                      </a:lnTo>
                      <a:lnTo>
                        <a:pt x="995" y="230"/>
                      </a:lnTo>
                      <a:lnTo>
                        <a:pt x="915" y="276"/>
                      </a:lnTo>
                      <a:lnTo>
                        <a:pt x="838" y="325"/>
                      </a:lnTo>
                      <a:lnTo>
                        <a:pt x="764" y="378"/>
                      </a:lnTo>
                      <a:lnTo>
                        <a:pt x="692" y="435"/>
                      </a:lnTo>
                      <a:lnTo>
                        <a:pt x="623" y="494"/>
                      </a:lnTo>
                      <a:lnTo>
                        <a:pt x="557" y="557"/>
                      </a:lnTo>
                      <a:lnTo>
                        <a:pt x="495" y="624"/>
                      </a:lnTo>
                      <a:lnTo>
                        <a:pt x="435" y="692"/>
                      </a:lnTo>
                      <a:lnTo>
                        <a:pt x="378" y="764"/>
                      </a:lnTo>
                      <a:lnTo>
                        <a:pt x="325" y="838"/>
                      </a:lnTo>
                      <a:lnTo>
                        <a:pt x="276" y="916"/>
                      </a:lnTo>
                      <a:lnTo>
                        <a:pt x="230" y="994"/>
                      </a:lnTo>
                      <a:lnTo>
                        <a:pt x="187" y="1076"/>
                      </a:lnTo>
                      <a:lnTo>
                        <a:pt x="150" y="1161"/>
                      </a:lnTo>
                      <a:lnTo>
                        <a:pt x="115" y="1247"/>
                      </a:lnTo>
                      <a:lnTo>
                        <a:pt x="86" y="1334"/>
                      </a:lnTo>
                      <a:lnTo>
                        <a:pt x="60" y="1425"/>
                      </a:lnTo>
                      <a:lnTo>
                        <a:pt x="39" y="1516"/>
                      </a:lnTo>
                      <a:lnTo>
                        <a:pt x="23" y="1610"/>
                      </a:lnTo>
                      <a:lnTo>
                        <a:pt x="10" y="1705"/>
                      </a:lnTo>
                      <a:lnTo>
                        <a:pt x="3" y="1801"/>
                      </a:lnTo>
                      <a:lnTo>
                        <a:pt x="0" y="1898"/>
                      </a:lnTo>
                      <a:lnTo>
                        <a:pt x="3" y="1995"/>
                      </a:lnTo>
                      <a:lnTo>
                        <a:pt x="10" y="2092"/>
                      </a:lnTo>
                      <a:lnTo>
                        <a:pt x="23" y="2187"/>
                      </a:lnTo>
                      <a:lnTo>
                        <a:pt x="39" y="2279"/>
                      </a:lnTo>
                      <a:lnTo>
                        <a:pt x="60" y="2371"/>
                      </a:lnTo>
                      <a:lnTo>
                        <a:pt x="86" y="2461"/>
                      </a:lnTo>
                      <a:lnTo>
                        <a:pt x="115" y="2550"/>
                      </a:lnTo>
                      <a:lnTo>
                        <a:pt x="150" y="2636"/>
                      </a:lnTo>
                      <a:lnTo>
                        <a:pt x="187" y="2720"/>
                      </a:lnTo>
                      <a:lnTo>
                        <a:pt x="230" y="2801"/>
                      </a:lnTo>
                      <a:lnTo>
                        <a:pt x="276" y="2881"/>
                      </a:lnTo>
                      <a:lnTo>
                        <a:pt x="325" y="2957"/>
                      </a:lnTo>
                      <a:lnTo>
                        <a:pt x="378" y="3032"/>
                      </a:lnTo>
                      <a:lnTo>
                        <a:pt x="435" y="3103"/>
                      </a:lnTo>
                      <a:lnTo>
                        <a:pt x="495" y="3173"/>
                      </a:lnTo>
                      <a:lnTo>
                        <a:pt x="557" y="3238"/>
                      </a:lnTo>
                      <a:lnTo>
                        <a:pt x="623" y="3302"/>
                      </a:lnTo>
                      <a:lnTo>
                        <a:pt x="692" y="3362"/>
                      </a:lnTo>
                      <a:lnTo>
                        <a:pt x="764" y="3417"/>
                      </a:lnTo>
                      <a:lnTo>
                        <a:pt x="838" y="3471"/>
                      </a:lnTo>
                      <a:lnTo>
                        <a:pt x="915" y="3520"/>
                      </a:lnTo>
                      <a:lnTo>
                        <a:pt x="995" y="3565"/>
                      </a:lnTo>
                      <a:lnTo>
                        <a:pt x="1077" y="3608"/>
                      </a:lnTo>
                      <a:lnTo>
                        <a:pt x="1161" y="3646"/>
                      </a:lnTo>
                      <a:lnTo>
                        <a:pt x="1247" y="3680"/>
                      </a:lnTo>
                      <a:lnTo>
                        <a:pt x="1335" y="3710"/>
                      </a:lnTo>
                      <a:lnTo>
                        <a:pt x="1424" y="3735"/>
                      </a:lnTo>
                      <a:lnTo>
                        <a:pt x="1516" y="3757"/>
                      </a:lnTo>
                      <a:lnTo>
                        <a:pt x="1610" y="3774"/>
                      </a:lnTo>
                      <a:lnTo>
                        <a:pt x="1704" y="3786"/>
                      </a:lnTo>
                      <a:lnTo>
                        <a:pt x="1800" y="3793"/>
                      </a:lnTo>
                      <a:lnTo>
                        <a:pt x="1897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79" name="Text Box 307"/>
                <p:cNvSpPr txBox="1">
                  <a:spLocks noChangeArrowheads="1"/>
                </p:cNvSpPr>
                <p:nvPr/>
              </p:nvSpPr>
              <p:spPr bwMode="auto">
                <a:xfrm>
                  <a:off x="3553" y="3333"/>
                  <a:ext cx="816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Facilities &amp; </a:t>
                  </a:r>
                  <a:b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</a:b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Safety</a:t>
                  </a:r>
                </a:p>
              </p:txBody>
            </p:sp>
          </p:grpSp>
          <p:grpSp>
            <p:nvGrpSpPr>
              <p:cNvPr id="11" name="Group 308"/>
              <p:cNvGrpSpPr>
                <a:grpSpLocks/>
              </p:cNvGrpSpPr>
              <p:nvPr/>
            </p:nvGrpSpPr>
            <p:grpSpPr bwMode="auto">
              <a:xfrm>
                <a:off x="1410" y="709"/>
                <a:ext cx="831" cy="759"/>
                <a:chOff x="1410" y="709"/>
                <a:chExt cx="831" cy="759"/>
              </a:xfrm>
            </p:grpSpPr>
            <p:grpSp>
              <p:nvGrpSpPr>
                <p:cNvPr id="12" name="Group 309"/>
                <p:cNvGrpSpPr>
                  <a:grpSpLocks/>
                </p:cNvGrpSpPr>
                <p:nvPr/>
              </p:nvGrpSpPr>
              <p:grpSpPr bwMode="auto">
                <a:xfrm>
                  <a:off x="1410" y="709"/>
                  <a:ext cx="816" cy="759"/>
                  <a:chOff x="1410" y="574"/>
                  <a:chExt cx="816" cy="759"/>
                </a:xfrm>
              </p:grpSpPr>
              <p:grpSp>
                <p:nvGrpSpPr>
                  <p:cNvPr id="13" name="Group 310"/>
                  <p:cNvGrpSpPr>
                    <a:grpSpLocks/>
                  </p:cNvGrpSpPr>
                  <p:nvPr/>
                </p:nvGrpSpPr>
                <p:grpSpPr bwMode="auto">
                  <a:xfrm>
                    <a:off x="1444" y="574"/>
                    <a:ext cx="759" cy="759"/>
                    <a:chOff x="1444" y="574"/>
                    <a:chExt cx="759" cy="759"/>
                  </a:xfrm>
                </p:grpSpPr>
                <p:sp>
                  <p:nvSpPr>
                    <p:cNvPr id="1078583" name="Freeform 311"/>
                    <p:cNvSpPr>
                      <a:spLocks/>
                    </p:cNvSpPr>
                    <p:nvPr/>
                  </p:nvSpPr>
                  <p:spPr bwMode="auto">
                    <a:xfrm>
                      <a:off x="1444" y="574"/>
                      <a:ext cx="759" cy="759"/>
                    </a:xfrm>
                    <a:custGeom>
                      <a:avLst/>
                      <a:gdLst/>
                      <a:ahLst/>
                      <a:cxnLst>
                        <a:cxn ang="0">
                          <a:pos x="2091" y="3786"/>
                        </a:cxn>
                        <a:cxn ang="0">
                          <a:pos x="2371" y="3735"/>
                        </a:cxn>
                        <a:cxn ang="0">
                          <a:pos x="2634" y="3646"/>
                        </a:cxn>
                        <a:cxn ang="0">
                          <a:pos x="2880" y="3520"/>
                        </a:cxn>
                        <a:cxn ang="0">
                          <a:pos x="3103" y="3360"/>
                        </a:cxn>
                        <a:cxn ang="0">
                          <a:pos x="3301" y="3172"/>
                        </a:cxn>
                        <a:cxn ang="0">
                          <a:pos x="3470" y="2957"/>
                        </a:cxn>
                        <a:cxn ang="0">
                          <a:pos x="3608" y="2720"/>
                        </a:cxn>
                        <a:cxn ang="0">
                          <a:pos x="3709" y="2461"/>
                        </a:cxn>
                        <a:cxn ang="0">
                          <a:pos x="3773" y="2185"/>
                        </a:cxn>
                        <a:cxn ang="0">
                          <a:pos x="3795" y="1898"/>
                        </a:cxn>
                        <a:cxn ang="0">
                          <a:pos x="3773" y="1609"/>
                        </a:cxn>
                        <a:cxn ang="0">
                          <a:pos x="3709" y="1334"/>
                        </a:cxn>
                        <a:cxn ang="0">
                          <a:pos x="3608" y="1076"/>
                        </a:cxn>
                        <a:cxn ang="0">
                          <a:pos x="3470" y="838"/>
                        </a:cxn>
                        <a:cxn ang="0">
                          <a:pos x="3301" y="622"/>
                        </a:cxn>
                        <a:cxn ang="0">
                          <a:pos x="3103" y="434"/>
                        </a:cxn>
                        <a:cxn ang="0">
                          <a:pos x="2880" y="276"/>
                        </a:cxn>
                        <a:cxn ang="0">
                          <a:pos x="2634" y="149"/>
                        </a:cxn>
                        <a:cxn ang="0">
                          <a:pos x="2371" y="60"/>
                        </a:cxn>
                        <a:cxn ang="0">
                          <a:pos x="2091" y="10"/>
                        </a:cxn>
                        <a:cxn ang="0">
                          <a:pos x="1800" y="2"/>
                        </a:cxn>
                        <a:cxn ang="0">
                          <a:pos x="1516" y="38"/>
                        </a:cxn>
                        <a:cxn ang="0">
                          <a:pos x="1246" y="116"/>
                        </a:cxn>
                        <a:cxn ang="0">
                          <a:pos x="994" y="230"/>
                        </a:cxn>
                        <a:cxn ang="0">
                          <a:pos x="763" y="378"/>
                        </a:cxn>
                        <a:cxn ang="0">
                          <a:pos x="557" y="557"/>
                        </a:cxn>
                        <a:cxn ang="0">
                          <a:pos x="378" y="763"/>
                        </a:cxn>
                        <a:cxn ang="0">
                          <a:pos x="230" y="994"/>
                        </a:cxn>
                        <a:cxn ang="0">
                          <a:pos x="116" y="1246"/>
                        </a:cxn>
                        <a:cxn ang="0">
                          <a:pos x="38" y="1516"/>
                        </a:cxn>
                        <a:cxn ang="0">
                          <a:pos x="2" y="1801"/>
                        </a:cxn>
                        <a:cxn ang="0">
                          <a:pos x="10" y="2091"/>
                        </a:cxn>
                        <a:cxn ang="0">
                          <a:pos x="60" y="2371"/>
                        </a:cxn>
                        <a:cxn ang="0">
                          <a:pos x="150" y="2635"/>
                        </a:cxn>
                        <a:cxn ang="0">
                          <a:pos x="276" y="2880"/>
                        </a:cxn>
                        <a:cxn ang="0">
                          <a:pos x="434" y="3103"/>
                        </a:cxn>
                        <a:cxn ang="0">
                          <a:pos x="623" y="3302"/>
                        </a:cxn>
                        <a:cxn ang="0">
                          <a:pos x="838" y="3471"/>
                        </a:cxn>
                        <a:cxn ang="0">
                          <a:pos x="1076" y="3608"/>
                        </a:cxn>
                        <a:cxn ang="0">
                          <a:pos x="1334" y="3709"/>
                        </a:cxn>
                        <a:cxn ang="0">
                          <a:pos x="1609" y="3774"/>
                        </a:cxn>
                        <a:cxn ang="0">
                          <a:pos x="1898" y="3795"/>
                        </a:cxn>
                      </a:cxnLst>
                      <a:rect l="0" t="0" r="r" b="b"/>
                      <a:pathLst>
                        <a:path w="3795" h="3795">
                          <a:moveTo>
                            <a:pt x="1898" y="3795"/>
                          </a:moveTo>
                          <a:lnTo>
                            <a:pt x="1995" y="3793"/>
                          </a:lnTo>
                          <a:lnTo>
                            <a:pt x="2091" y="3786"/>
                          </a:lnTo>
                          <a:lnTo>
                            <a:pt x="2185" y="3774"/>
                          </a:lnTo>
                          <a:lnTo>
                            <a:pt x="2279" y="3756"/>
                          </a:lnTo>
                          <a:lnTo>
                            <a:pt x="2371" y="3735"/>
                          </a:lnTo>
                          <a:lnTo>
                            <a:pt x="2461" y="3709"/>
                          </a:lnTo>
                          <a:lnTo>
                            <a:pt x="2548" y="3680"/>
                          </a:lnTo>
                          <a:lnTo>
                            <a:pt x="2634" y="3646"/>
                          </a:lnTo>
                          <a:lnTo>
                            <a:pt x="2718" y="3608"/>
                          </a:lnTo>
                          <a:lnTo>
                            <a:pt x="2800" y="3565"/>
                          </a:lnTo>
                          <a:lnTo>
                            <a:pt x="2880" y="3520"/>
                          </a:lnTo>
                          <a:lnTo>
                            <a:pt x="2957" y="3471"/>
                          </a:lnTo>
                          <a:lnTo>
                            <a:pt x="3031" y="3417"/>
                          </a:lnTo>
                          <a:lnTo>
                            <a:pt x="3103" y="3360"/>
                          </a:lnTo>
                          <a:lnTo>
                            <a:pt x="3172" y="3302"/>
                          </a:lnTo>
                          <a:lnTo>
                            <a:pt x="3238" y="3238"/>
                          </a:lnTo>
                          <a:lnTo>
                            <a:pt x="3301" y="3172"/>
                          </a:lnTo>
                          <a:lnTo>
                            <a:pt x="3360" y="3103"/>
                          </a:lnTo>
                          <a:lnTo>
                            <a:pt x="3417" y="3031"/>
                          </a:lnTo>
                          <a:lnTo>
                            <a:pt x="3470" y="2957"/>
                          </a:lnTo>
                          <a:lnTo>
                            <a:pt x="3519" y="2880"/>
                          </a:lnTo>
                          <a:lnTo>
                            <a:pt x="3565" y="2801"/>
                          </a:lnTo>
                          <a:lnTo>
                            <a:pt x="3608" y="2720"/>
                          </a:lnTo>
                          <a:lnTo>
                            <a:pt x="3646" y="2635"/>
                          </a:lnTo>
                          <a:lnTo>
                            <a:pt x="3679" y="2548"/>
                          </a:lnTo>
                          <a:lnTo>
                            <a:pt x="3709" y="2461"/>
                          </a:lnTo>
                          <a:lnTo>
                            <a:pt x="3735" y="2371"/>
                          </a:lnTo>
                          <a:lnTo>
                            <a:pt x="3756" y="2279"/>
                          </a:lnTo>
                          <a:lnTo>
                            <a:pt x="3773" y="2185"/>
                          </a:lnTo>
                          <a:lnTo>
                            <a:pt x="3785" y="2091"/>
                          </a:lnTo>
                          <a:lnTo>
                            <a:pt x="3792" y="1995"/>
                          </a:lnTo>
                          <a:lnTo>
                            <a:pt x="3795" y="1898"/>
                          </a:lnTo>
                          <a:lnTo>
                            <a:pt x="3792" y="1801"/>
                          </a:lnTo>
                          <a:lnTo>
                            <a:pt x="3785" y="1704"/>
                          </a:lnTo>
                          <a:lnTo>
                            <a:pt x="3773" y="1609"/>
                          </a:lnTo>
                          <a:lnTo>
                            <a:pt x="3756" y="1516"/>
                          </a:lnTo>
                          <a:lnTo>
                            <a:pt x="3735" y="1425"/>
                          </a:lnTo>
                          <a:lnTo>
                            <a:pt x="3709" y="1334"/>
                          </a:lnTo>
                          <a:lnTo>
                            <a:pt x="3679" y="1246"/>
                          </a:lnTo>
                          <a:lnTo>
                            <a:pt x="3646" y="1160"/>
                          </a:lnTo>
                          <a:lnTo>
                            <a:pt x="3608" y="1076"/>
                          </a:lnTo>
                          <a:lnTo>
                            <a:pt x="3565" y="994"/>
                          </a:lnTo>
                          <a:lnTo>
                            <a:pt x="3519" y="915"/>
                          </a:lnTo>
                          <a:lnTo>
                            <a:pt x="3470" y="838"/>
                          </a:lnTo>
                          <a:lnTo>
                            <a:pt x="3417" y="763"/>
                          </a:lnTo>
                          <a:lnTo>
                            <a:pt x="3360" y="692"/>
                          </a:lnTo>
                          <a:lnTo>
                            <a:pt x="3301" y="622"/>
                          </a:lnTo>
                          <a:lnTo>
                            <a:pt x="3238" y="557"/>
                          </a:lnTo>
                          <a:lnTo>
                            <a:pt x="3172" y="494"/>
                          </a:lnTo>
                          <a:lnTo>
                            <a:pt x="3103" y="434"/>
                          </a:lnTo>
                          <a:lnTo>
                            <a:pt x="3031" y="378"/>
                          </a:lnTo>
                          <a:lnTo>
                            <a:pt x="2957" y="325"/>
                          </a:lnTo>
                          <a:lnTo>
                            <a:pt x="2880" y="276"/>
                          </a:lnTo>
                          <a:lnTo>
                            <a:pt x="2800" y="230"/>
                          </a:lnTo>
                          <a:lnTo>
                            <a:pt x="2718" y="187"/>
                          </a:lnTo>
                          <a:lnTo>
                            <a:pt x="2634" y="149"/>
                          </a:lnTo>
                          <a:lnTo>
                            <a:pt x="2548" y="116"/>
                          </a:lnTo>
                          <a:lnTo>
                            <a:pt x="2461" y="85"/>
                          </a:lnTo>
                          <a:lnTo>
                            <a:pt x="2371" y="60"/>
                          </a:lnTo>
                          <a:lnTo>
                            <a:pt x="2279" y="38"/>
                          </a:lnTo>
                          <a:lnTo>
                            <a:pt x="2185" y="22"/>
                          </a:lnTo>
                          <a:lnTo>
                            <a:pt x="2091" y="10"/>
                          </a:lnTo>
                          <a:lnTo>
                            <a:pt x="1995" y="2"/>
                          </a:lnTo>
                          <a:lnTo>
                            <a:pt x="1898" y="0"/>
                          </a:lnTo>
                          <a:lnTo>
                            <a:pt x="1800" y="2"/>
                          </a:lnTo>
                          <a:lnTo>
                            <a:pt x="1704" y="10"/>
                          </a:lnTo>
                          <a:lnTo>
                            <a:pt x="1609" y="22"/>
                          </a:lnTo>
                          <a:lnTo>
                            <a:pt x="1516" y="38"/>
                          </a:lnTo>
                          <a:lnTo>
                            <a:pt x="1425" y="60"/>
                          </a:lnTo>
                          <a:lnTo>
                            <a:pt x="1334" y="85"/>
                          </a:lnTo>
                          <a:lnTo>
                            <a:pt x="1246" y="116"/>
                          </a:lnTo>
                          <a:lnTo>
                            <a:pt x="1160" y="149"/>
                          </a:lnTo>
                          <a:lnTo>
                            <a:pt x="1076" y="187"/>
                          </a:lnTo>
                          <a:lnTo>
                            <a:pt x="994" y="230"/>
                          </a:lnTo>
                          <a:lnTo>
                            <a:pt x="915" y="276"/>
                          </a:lnTo>
                          <a:lnTo>
                            <a:pt x="838" y="325"/>
                          </a:lnTo>
                          <a:lnTo>
                            <a:pt x="763" y="378"/>
                          </a:lnTo>
                          <a:lnTo>
                            <a:pt x="692" y="434"/>
                          </a:lnTo>
                          <a:lnTo>
                            <a:pt x="623" y="494"/>
                          </a:lnTo>
                          <a:lnTo>
                            <a:pt x="557" y="557"/>
                          </a:lnTo>
                          <a:lnTo>
                            <a:pt x="494" y="622"/>
                          </a:lnTo>
                          <a:lnTo>
                            <a:pt x="434" y="692"/>
                          </a:lnTo>
                          <a:lnTo>
                            <a:pt x="378" y="763"/>
                          </a:lnTo>
                          <a:lnTo>
                            <a:pt x="325" y="838"/>
                          </a:lnTo>
                          <a:lnTo>
                            <a:pt x="276" y="915"/>
                          </a:lnTo>
                          <a:lnTo>
                            <a:pt x="230" y="994"/>
                          </a:lnTo>
                          <a:lnTo>
                            <a:pt x="188" y="1076"/>
                          </a:lnTo>
                          <a:lnTo>
                            <a:pt x="150" y="1160"/>
                          </a:lnTo>
                          <a:lnTo>
                            <a:pt x="116" y="1246"/>
                          </a:lnTo>
                          <a:lnTo>
                            <a:pt x="85" y="1334"/>
                          </a:lnTo>
                          <a:lnTo>
                            <a:pt x="60" y="1425"/>
                          </a:lnTo>
                          <a:lnTo>
                            <a:pt x="38" y="1516"/>
                          </a:lnTo>
                          <a:lnTo>
                            <a:pt x="22" y="1609"/>
                          </a:lnTo>
                          <a:lnTo>
                            <a:pt x="10" y="1704"/>
                          </a:lnTo>
                          <a:lnTo>
                            <a:pt x="2" y="1801"/>
                          </a:lnTo>
                          <a:lnTo>
                            <a:pt x="0" y="1898"/>
                          </a:lnTo>
                          <a:lnTo>
                            <a:pt x="2" y="1995"/>
                          </a:lnTo>
                          <a:lnTo>
                            <a:pt x="10" y="2091"/>
                          </a:lnTo>
                          <a:lnTo>
                            <a:pt x="22" y="2185"/>
                          </a:lnTo>
                          <a:lnTo>
                            <a:pt x="38" y="2279"/>
                          </a:lnTo>
                          <a:lnTo>
                            <a:pt x="60" y="2371"/>
                          </a:lnTo>
                          <a:lnTo>
                            <a:pt x="85" y="2461"/>
                          </a:lnTo>
                          <a:lnTo>
                            <a:pt x="116" y="2548"/>
                          </a:lnTo>
                          <a:lnTo>
                            <a:pt x="150" y="2635"/>
                          </a:lnTo>
                          <a:lnTo>
                            <a:pt x="188" y="2720"/>
                          </a:lnTo>
                          <a:lnTo>
                            <a:pt x="230" y="2801"/>
                          </a:lnTo>
                          <a:lnTo>
                            <a:pt x="276" y="2880"/>
                          </a:lnTo>
                          <a:lnTo>
                            <a:pt x="325" y="2957"/>
                          </a:lnTo>
                          <a:lnTo>
                            <a:pt x="378" y="3031"/>
                          </a:lnTo>
                          <a:lnTo>
                            <a:pt x="434" y="3103"/>
                          </a:lnTo>
                          <a:lnTo>
                            <a:pt x="494" y="3172"/>
                          </a:lnTo>
                          <a:lnTo>
                            <a:pt x="557" y="3238"/>
                          </a:lnTo>
                          <a:lnTo>
                            <a:pt x="623" y="3302"/>
                          </a:lnTo>
                          <a:lnTo>
                            <a:pt x="692" y="3360"/>
                          </a:lnTo>
                          <a:lnTo>
                            <a:pt x="763" y="3417"/>
                          </a:lnTo>
                          <a:lnTo>
                            <a:pt x="838" y="3471"/>
                          </a:lnTo>
                          <a:lnTo>
                            <a:pt x="915" y="3520"/>
                          </a:lnTo>
                          <a:lnTo>
                            <a:pt x="994" y="3565"/>
                          </a:lnTo>
                          <a:lnTo>
                            <a:pt x="1076" y="3608"/>
                          </a:lnTo>
                          <a:lnTo>
                            <a:pt x="1160" y="3646"/>
                          </a:lnTo>
                          <a:lnTo>
                            <a:pt x="1246" y="3680"/>
                          </a:lnTo>
                          <a:lnTo>
                            <a:pt x="1334" y="3709"/>
                          </a:lnTo>
                          <a:lnTo>
                            <a:pt x="1425" y="3735"/>
                          </a:lnTo>
                          <a:lnTo>
                            <a:pt x="1516" y="3756"/>
                          </a:lnTo>
                          <a:lnTo>
                            <a:pt x="1609" y="3774"/>
                          </a:lnTo>
                          <a:lnTo>
                            <a:pt x="1704" y="3786"/>
                          </a:lnTo>
                          <a:lnTo>
                            <a:pt x="1800" y="3793"/>
                          </a:lnTo>
                          <a:lnTo>
                            <a:pt x="1898" y="3795"/>
                          </a:lnTo>
                          <a:close/>
                        </a:path>
                      </a:pathLst>
                    </a:custGeom>
                    <a:solidFill>
                      <a:schemeClr val="accent5">
                        <a:lumMod val="75000"/>
                      </a:schemeClr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4572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>
                        <a:solidFill>
                          <a:prstClr val="black"/>
                        </a:solidFill>
                        <a:latin typeface="Arial" pitchFamily="34" charset="0"/>
                        <a:ea typeface="ＭＳ Ｐゴシック" pitchFamily="34" charset="-128"/>
                      </a:endParaRPr>
                    </a:p>
                  </p:txBody>
                </p:sp>
                <p:sp>
                  <p:nvSpPr>
                    <p:cNvPr id="1078584" name="Freeform 312"/>
                    <p:cNvSpPr>
                      <a:spLocks/>
                    </p:cNvSpPr>
                    <p:nvPr/>
                  </p:nvSpPr>
                  <p:spPr bwMode="auto">
                    <a:xfrm>
                      <a:off x="1444" y="574"/>
                      <a:ext cx="759" cy="759"/>
                    </a:xfrm>
                    <a:custGeom>
                      <a:avLst/>
                      <a:gdLst/>
                      <a:ahLst/>
                      <a:cxnLst>
                        <a:cxn ang="0">
                          <a:pos x="2091" y="3786"/>
                        </a:cxn>
                        <a:cxn ang="0">
                          <a:pos x="2371" y="3735"/>
                        </a:cxn>
                        <a:cxn ang="0">
                          <a:pos x="2634" y="3646"/>
                        </a:cxn>
                        <a:cxn ang="0">
                          <a:pos x="2880" y="3520"/>
                        </a:cxn>
                        <a:cxn ang="0">
                          <a:pos x="3103" y="3360"/>
                        </a:cxn>
                        <a:cxn ang="0">
                          <a:pos x="3301" y="3172"/>
                        </a:cxn>
                        <a:cxn ang="0">
                          <a:pos x="3470" y="2957"/>
                        </a:cxn>
                        <a:cxn ang="0">
                          <a:pos x="3608" y="2720"/>
                        </a:cxn>
                        <a:cxn ang="0">
                          <a:pos x="3709" y="2461"/>
                        </a:cxn>
                        <a:cxn ang="0">
                          <a:pos x="3773" y="2185"/>
                        </a:cxn>
                        <a:cxn ang="0">
                          <a:pos x="3795" y="1898"/>
                        </a:cxn>
                        <a:cxn ang="0">
                          <a:pos x="3773" y="1609"/>
                        </a:cxn>
                        <a:cxn ang="0">
                          <a:pos x="3709" y="1334"/>
                        </a:cxn>
                        <a:cxn ang="0">
                          <a:pos x="3608" y="1076"/>
                        </a:cxn>
                        <a:cxn ang="0">
                          <a:pos x="3470" y="838"/>
                        </a:cxn>
                        <a:cxn ang="0">
                          <a:pos x="3301" y="622"/>
                        </a:cxn>
                        <a:cxn ang="0">
                          <a:pos x="3103" y="434"/>
                        </a:cxn>
                        <a:cxn ang="0">
                          <a:pos x="2880" y="276"/>
                        </a:cxn>
                        <a:cxn ang="0">
                          <a:pos x="2634" y="149"/>
                        </a:cxn>
                        <a:cxn ang="0">
                          <a:pos x="2371" y="60"/>
                        </a:cxn>
                        <a:cxn ang="0">
                          <a:pos x="2091" y="10"/>
                        </a:cxn>
                        <a:cxn ang="0">
                          <a:pos x="1800" y="2"/>
                        </a:cxn>
                        <a:cxn ang="0">
                          <a:pos x="1516" y="38"/>
                        </a:cxn>
                        <a:cxn ang="0">
                          <a:pos x="1246" y="116"/>
                        </a:cxn>
                        <a:cxn ang="0">
                          <a:pos x="994" y="230"/>
                        </a:cxn>
                        <a:cxn ang="0">
                          <a:pos x="763" y="378"/>
                        </a:cxn>
                        <a:cxn ang="0">
                          <a:pos x="557" y="557"/>
                        </a:cxn>
                        <a:cxn ang="0">
                          <a:pos x="378" y="763"/>
                        </a:cxn>
                        <a:cxn ang="0">
                          <a:pos x="230" y="994"/>
                        </a:cxn>
                        <a:cxn ang="0">
                          <a:pos x="116" y="1246"/>
                        </a:cxn>
                        <a:cxn ang="0">
                          <a:pos x="38" y="1516"/>
                        </a:cxn>
                        <a:cxn ang="0">
                          <a:pos x="2" y="1801"/>
                        </a:cxn>
                        <a:cxn ang="0">
                          <a:pos x="10" y="2091"/>
                        </a:cxn>
                        <a:cxn ang="0">
                          <a:pos x="60" y="2371"/>
                        </a:cxn>
                        <a:cxn ang="0">
                          <a:pos x="150" y="2635"/>
                        </a:cxn>
                        <a:cxn ang="0">
                          <a:pos x="276" y="2880"/>
                        </a:cxn>
                        <a:cxn ang="0">
                          <a:pos x="434" y="3103"/>
                        </a:cxn>
                        <a:cxn ang="0">
                          <a:pos x="623" y="3302"/>
                        </a:cxn>
                        <a:cxn ang="0">
                          <a:pos x="838" y="3471"/>
                        </a:cxn>
                        <a:cxn ang="0">
                          <a:pos x="1076" y="3608"/>
                        </a:cxn>
                        <a:cxn ang="0">
                          <a:pos x="1334" y="3709"/>
                        </a:cxn>
                        <a:cxn ang="0">
                          <a:pos x="1609" y="3774"/>
                        </a:cxn>
                        <a:cxn ang="0">
                          <a:pos x="1898" y="3795"/>
                        </a:cxn>
                      </a:cxnLst>
                      <a:rect l="0" t="0" r="r" b="b"/>
                      <a:pathLst>
                        <a:path w="3795" h="3795">
                          <a:moveTo>
                            <a:pt x="1898" y="3795"/>
                          </a:moveTo>
                          <a:lnTo>
                            <a:pt x="1995" y="3793"/>
                          </a:lnTo>
                          <a:lnTo>
                            <a:pt x="2091" y="3786"/>
                          </a:lnTo>
                          <a:lnTo>
                            <a:pt x="2185" y="3774"/>
                          </a:lnTo>
                          <a:lnTo>
                            <a:pt x="2279" y="3756"/>
                          </a:lnTo>
                          <a:lnTo>
                            <a:pt x="2371" y="3735"/>
                          </a:lnTo>
                          <a:lnTo>
                            <a:pt x="2461" y="3709"/>
                          </a:lnTo>
                          <a:lnTo>
                            <a:pt x="2548" y="3680"/>
                          </a:lnTo>
                          <a:lnTo>
                            <a:pt x="2634" y="3646"/>
                          </a:lnTo>
                          <a:lnTo>
                            <a:pt x="2718" y="3608"/>
                          </a:lnTo>
                          <a:lnTo>
                            <a:pt x="2800" y="3565"/>
                          </a:lnTo>
                          <a:lnTo>
                            <a:pt x="2880" y="3520"/>
                          </a:lnTo>
                          <a:lnTo>
                            <a:pt x="2957" y="3471"/>
                          </a:lnTo>
                          <a:lnTo>
                            <a:pt x="3031" y="3417"/>
                          </a:lnTo>
                          <a:lnTo>
                            <a:pt x="3103" y="3360"/>
                          </a:lnTo>
                          <a:lnTo>
                            <a:pt x="3172" y="3302"/>
                          </a:lnTo>
                          <a:lnTo>
                            <a:pt x="3238" y="3238"/>
                          </a:lnTo>
                          <a:lnTo>
                            <a:pt x="3301" y="3172"/>
                          </a:lnTo>
                          <a:lnTo>
                            <a:pt x="3360" y="3103"/>
                          </a:lnTo>
                          <a:lnTo>
                            <a:pt x="3417" y="3031"/>
                          </a:lnTo>
                          <a:lnTo>
                            <a:pt x="3470" y="2957"/>
                          </a:lnTo>
                          <a:lnTo>
                            <a:pt x="3519" y="2880"/>
                          </a:lnTo>
                          <a:lnTo>
                            <a:pt x="3565" y="2801"/>
                          </a:lnTo>
                          <a:lnTo>
                            <a:pt x="3608" y="2720"/>
                          </a:lnTo>
                          <a:lnTo>
                            <a:pt x="3646" y="2635"/>
                          </a:lnTo>
                          <a:lnTo>
                            <a:pt x="3679" y="2548"/>
                          </a:lnTo>
                          <a:lnTo>
                            <a:pt x="3709" y="2461"/>
                          </a:lnTo>
                          <a:lnTo>
                            <a:pt x="3735" y="2371"/>
                          </a:lnTo>
                          <a:lnTo>
                            <a:pt x="3756" y="2279"/>
                          </a:lnTo>
                          <a:lnTo>
                            <a:pt x="3773" y="2185"/>
                          </a:lnTo>
                          <a:lnTo>
                            <a:pt x="3785" y="2091"/>
                          </a:lnTo>
                          <a:lnTo>
                            <a:pt x="3792" y="1995"/>
                          </a:lnTo>
                          <a:lnTo>
                            <a:pt x="3795" y="1898"/>
                          </a:lnTo>
                          <a:lnTo>
                            <a:pt x="3792" y="1801"/>
                          </a:lnTo>
                          <a:lnTo>
                            <a:pt x="3785" y="1704"/>
                          </a:lnTo>
                          <a:lnTo>
                            <a:pt x="3773" y="1609"/>
                          </a:lnTo>
                          <a:lnTo>
                            <a:pt x="3756" y="1516"/>
                          </a:lnTo>
                          <a:lnTo>
                            <a:pt x="3735" y="1425"/>
                          </a:lnTo>
                          <a:lnTo>
                            <a:pt x="3709" y="1334"/>
                          </a:lnTo>
                          <a:lnTo>
                            <a:pt x="3679" y="1246"/>
                          </a:lnTo>
                          <a:lnTo>
                            <a:pt x="3646" y="1160"/>
                          </a:lnTo>
                          <a:lnTo>
                            <a:pt x="3608" y="1076"/>
                          </a:lnTo>
                          <a:lnTo>
                            <a:pt x="3565" y="994"/>
                          </a:lnTo>
                          <a:lnTo>
                            <a:pt x="3519" y="915"/>
                          </a:lnTo>
                          <a:lnTo>
                            <a:pt x="3470" y="838"/>
                          </a:lnTo>
                          <a:lnTo>
                            <a:pt x="3417" y="763"/>
                          </a:lnTo>
                          <a:lnTo>
                            <a:pt x="3360" y="692"/>
                          </a:lnTo>
                          <a:lnTo>
                            <a:pt x="3301" y="622"/>
                          </a:lnTo>
                          <a:lnTo>
                            <a:pt x="3238" y="557"/>
                          </a:lnTo>
                          <a:lnTo>
                            <a:pt x="3172" y="494"/>
                          </a:lnTo>
                          <a:lnTo>
                            <a:pt x="3103" y="434"/>
                          </a:lnTo>
                          <a:lnTo>
                            <a:pt x="3031" y="378"/>
                          </a:lnTo>
                          <a:lnTo>
                            <a:pt x="2957" y="325"/>
                          </a:lnTo>
                          <a:lnTo>
                            <a:pt x="2880" y="276"/>
                          </a:lnTo>
                          <a:lnTo>
                            <a:pt x="2800" y="230"/>
                          </a:lnTo>
                          <a:lnTo>
                            <a:pt x="2718" y="187"/>
                          </a:lnTo>
                          <a:lnTo>
                            <a:pt x="2634" y="149"/>
                          </a:lnTo>
                          <a:lnTo>
                            <a:pt x="2548" y="116"/>
                          </a:lnTo>
                          <a:lnTo>
                            <a:pt x="2461" y="85"/>
                          </a:lnTo>
                          <a:lnTo>
                            <a:pt x="2371" y="60"/>
                          </a:lnTo>
                          <a:lnTo>
                            <a:pt x="2279" y="38"/>
                          </a:lnTo>
                          <a:lnTo>
                            <a:pt x="2185" y="22"/>
                          </a:lnTo>
                          <a:lnTo>
                            <a:pt x="2091" y="10"/>
                          </a:lnTo>
                          <a:lnTo>
                            <a:pt x="1995" y="2"/>
                          </a:lnTo>
                          <a:lnTo>
                            <a:pt x="1898" y="0"/>
                          </a:lnTo>
                          <a:lnTo>
                            <a:pt x="1800" y="2"/>
                          </a:lnTo>
                          <a:lnTo>
                            <a:pt x="1704" y="10"/>
                          </a:lnTo>
                          <a:lnTo>
                            <a:pt x="1609" y="22"/>
                          </a:lnTo>
                          <a:lnTo>
                            <a:pt x="1516" y="38"/>
                          </a:lnTo>
                          <a:lnTo>
                            <a:pt x="1425" y="60"/>
                          </a:lnTo>
                          <a:lnTo>
                            <a:pt x="1334" y="85"/>
                          </a:lnTo>
                          <a:lnTo>
                            <a:pt x="1246" y="116"/>
                          </a:lnTo>
                          <a:lnTo>
                            <a:pt x="1160" y="149"/>
                          </a:lnTo>
                          <a:lnTo>
                            <a:pt x="1076" y="187"/>
                          </a:lnTo>
                          <a:lnTo>
                            <a:pt x="994" y="230"/>
                          </a:lnTo>
                          <a:lnTo>
                            <a:pt x="915" y="276"/>
                          </a:lnTo>
                          <a:lnTo>
                            <a:pt x="838" y="325"/>
                          </a:lnTo>
                          <a:lnTo>
                            <a:pt x="763" y="378"/>
                          </a:lnTo>
                          <a:lnTo>
                            <a:pt x="692" y="434"/>
                          </a:lnTo>
                          <a:lnTo>
                            <a:pt x="623" y="494"/>
                          </a:lnTo>
                          <a:lnTo>
                            <a:pt x="557" y="557"/>
                          </a:lnTo>
                          <a:lnTo>
                            <a:pt x="494" y="622"/>
                          </a:lnTo>
                          <a:lnTo>
                            <a:pt x="434" y="692"/>
                          </a:lnTo>
                          <a:lnTo>
                            <a:pt x="378" y="763"/>
                          </a:lnTo>
                          <a:lnTo>
                            <a:pt x="325" y="838"/>
                          </a:lnTo>
                          <a:lnTo>
                            <a:pt x="276" y="915"/>
                          </a:lnTo>
                          <a:lnTo>
                            <a:pt x="230" y="994"/>
                          </a:lnTo>
                          <a:lnTo>
                            <a:pt x="188" y="1076"/>
                          </a:lnTo>
                          <a:lnTo>
                            <a:pt x="150" y="1160"/>
                          </a:lnTo>
                          <a:lnTo>
                            <a:pt x="116" y="1246"/>
                          </a:lnTo>
                          <a:lnTo>
                            <a:pt x="85" y="1334"/>
                          </a:lnTo>
                          <a:lnTo>
                            <a:pt x="60" y="1425"/>
                          </a:lnTo>
                          <a:lnTo>
                            <a:pt x="38" y="1516"/>
                          </a:lnTo>
                          <a:lnTo>
                            <a:pt x="22" y="1609"/>
                          </a:lnTo>
                          <a:lnTo>
                            <a:pt x="10" y="1704"/>
                          </a:lnTo>
                          <a:lnTo>
                            <a:pt x="2" y="1801"/>
                          </a:lnTo>
                          <a:lnTo>
                            <a:pt x="0" y="1898"/>
                          </a:lnTo>
                          <a:lnTo>
                            <a:pt x="2" y="1995"/>
                          </a:lnTo>
                          <a:lnTo>
                            <a:pt x="10" y="2091"/>
                          </a:lnTo>
                          <a:lnTo>
                            <a:pt x="22" y="2185"/>
                          </a:lnTo>
                          <a:lnTo>
                            <a:pt x="38" y="2279"/>
                          </a:lnTo>
                          <a:lnTo>
                            <a:pt x="60" y="2371"/>
                          </a:lnTo>
                          <a:lnTo>
                            <a:pt x="85" y="2461"/>
                          </a:lnTo>
                          <a:lnTo>
                            <a:pt x="116" y="2548"/>
                          </a:lnTo>
                          <a:lnTo>
                            <a:pt x="150" y="2635"/>
                          </a:lnTo>
                          <a:lnTo>
                            <a:pt x="188" y="2720"/>
                          </a:lnTo>
                          <a:lnTo>
                            <a:pt x="230" y="2801"/>
                          </a:lnTo>
                          <a:lnTo>
                            <a:pt x="276" y="2880"/>
                          </a:lnTo>
                          <a:lnTo>
                            <a:pt x="325" y="2957"/>
                          </a:lnTo>
                          <a:lnTo>
                            <a:pt x="378" y="3031"/>
                          </a:lnTo>
                          <a:lnTo>
                            <a:pt x="434" y="3103"/>
                          </a:lnTo>
                          <a:lnTo>
                            <a:pt x="494" y="3172"/>
                          </a:lnTo>
                          <a:lnTo>
                            <a:pt x="557" y="3238"/>
                          </a:lnTo>
                          <a:lnTo>
                            <a:pt x="623" y="3302"/>
                          </a:lnTo>
                          <a:lnTo>
                            <a:pt x="692" y="3360"/>
                          </a:lnTo>
                          <a:lnTo>
                            <a:pt x="763" y="3417"/>
                          </a:lnTo>
                          <a:lnTo>
                            <a:pt x="838" y="3471"/>
                          </a:lnTo>
                          <a:lnTo>
                            <a:pt x="915" y="3520"/>
                          </a:lnTo>
                          <a:lnTo>
                            <a:pt x="994" y="3565"/>
                          </a:lnTo>
                          <a:lnTo>
                            <a:pt x="1076" y="3608"/>
                          </a:lnTo>
                          <a:lnTo>
                            <a:pt x="1160" y="3646"/>
                          </a:lnTo>
                          <a:lnTo>
                            <a:pt x="1246" y="3680"/>
                          </a:lnTo>
                          <a:lnTo>
                            <a:pt x="1334" y="3709"/>
                          </a:lnTo>
                          <a:lnTo>
                            <a:pt x="1425" y="3735"/>
                          </a:lnTo>
                          <a:lnTo>
                            <a:pt x="1516" y="3756"/>
                          </a:lnTo>
                          <a:lnTo>
                            <a:pt x="1609" y="3774"/>
                          </a:lnTo>
                          <a:lnTo>
                            <a:pt x="1704" y="3786"/>
                          </a:lnTo>
                          <a:lnTo>
                            <a:pt x="1800" y="3793"/>
                          </a:lnTo>
                          <a:lnTo>
                            <a:pt x="1898" y="3795"/>
                          </a:lnTo>
                        </a:path>
                      </a:pathLst>
                    </a:custGeom>
                    <a:noFill/>
                    <a:ln w="3175">
                      <a:solidFill>
                        <a:srgbClr val="000000"/>
                      </a:solidFill>
                      <a:prstDash val="solid"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defTabSz="457200" fontAlgn="base"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>
                        <a:solidFill>
                          <a:prstClr val="black"/>
                        </a:solidFill>
                        <a:latin typeface="Arial" pitchFamily="34" charset="0"/>
                        <a:ea typeface="ＭＳ Ｐゴシック" pitchFamily="34" charset="-128"/>
                      </a:endParaRPr>
                    </a:p>
                  </p:txBody>
                </p:sp>
              </p:grpSp>
              <p:sp>
                <p:nvSpPr>
                  <p:cNvPr id="1078585" name="Text Box 31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10" y="750"/>
                    <a:ext cx="816" cy="23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>
                    <a:spAutoFit/>
                  </a:bodyPr>
                  <a:lstStyle/>
                  <a:p>
                    <a:pPr algn="ctr" defTabSz="457200" eaLnBrk="0" fontAlgn="base" hangingPunct="0">
                      <a:spcBef>
                        <a:spcPct val="50000"/>
                      </a:spcBef>
                      <a:spcAft>
                        <a:spcPct val="0"/>
                      </a:spcAft>
                    </a:pPr>
                    <a:endParaRPr lang="en-US">
                      <a:solidFill>
                        <a:prstClr val="black"/>
                      </a:solidFill>
                      <a:latin typeface="Arial" pitchFamily="34" charset="0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78586" name="Text Box 314"/>
                <p:cNvSpPr txBox="1">
                  <a:spLocks noChangeArrowheads="1"/>
                </p:cNvSpPr>
                <p:nvPr/>
              </p:nvSpPr>
              <p:spPr bwMode="auto">
                <a:xfrm>
                  <a:off x="1425" y="976"/>
                  <a:ext cx="816" cy="2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Organization</a:t>
                  </a:r>
                </a:p>
              </p:txBody>
            </p:sp>
          </p:grpSp>
          <p:grpSp>
            <p:nvGrpSpPr>
              <p:cNvPr id="14" name="Group 315"/>
              <p:cNvGrpSpPr>
                <a:grpSpLocks/>
              </p:cNvGrpSpPr>
              <p:nvPr/>
            </p:nvGrpSpPr>
            <p:grpSpPr bwMode="auto">
              <a:xfrm>
                <a:off x="2484" y="709"/>
                <a:ext cx="816" cy="759"/>
                <a:chOff x="2484" y="709"/>
                <a:chExt cx="816" cy="759"/>
              </a:xfrm>
            </p:grpSpPr>
            <p:sp>
              <p:nvSpPr>
                <p:cNvPr id="1078588" name="Freeform 316"/>
                <p:cNvSpPr>
                  <a:spLocks/>
                </p:cNvSpPr>
                <p:nvPr/>
              </p:nvSpPr>
              <p:spPr bwMode="auto">
                <a:xfrm>
                  <a:off x="2511" y="709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0" y="3786"/>
                    </a:cxn>
                    <a:cxn ang="0">
                      <a:pos x="2370" y="3735"/>
                    </a:cxn>
                    <a:cxn ang="0">
                      <a:pos x="2634" y="3646"/>
                    </a:cxn>
                    <a:cxn ang="0">
                      <a:pos x="2879" y="3520"/>
                    </a:cxn>
                    <a:cxn ang="0">
                      <a:pos x="3103" y="3360"/>
                    </a:cxn>
                    <a:cxn ang="0">
                      <a:pos x="3300" y="3172"/>
                    </a:cxn>
                    <a:cxn ang="0">
                      <a:pos x="3470" y="2957"/>
                    </a:cxn>
                    <a:cxn ang="0">
                      <a:pos x="3606" y="2720"/>
                    </a:cxn>
                    <a:cxn ang="0">
                      <a:pos x="3708" y="2461"/>
                    </a:cxn>
                    <a:cxn ang="0">
                      <a:pos x="3772" y="2185"/>
                    </a:cxn>
                    <a:cxn ang="0">
                      <a:pos x="3795" y="1898"/>
                    </a:cxn>
                    <a:cxn ang="0">
                      <a:pos x="3772" y="1609"/>
                    </a:cxn>
                    <a:cxn ang="0">
                      <a:pos x="3708" y="1334"/>
                    </a:cxn>
                    <a:cxn ang="0">
                      <a:pos x="3606" y="1076"/>
                    </a:cxn>
                    <a:cxn ang="0">
                      <a:pos x="3470" y="838"/>
                    </a:cxn>
                    <a:cxn ang="0">
                      <a:pos x="3300" y="622"/>
                    </a:cxn>
                    <a:cxn ang="0">
                      <a:pos x="3103" y="434"/>
                    </a:cxn>
                    <a:cxn ang="0">
                      <a:pos x="2879" y="276"/>
                    </a:cxn>
                    <a:cxn ang="0">
                      <a:pos x="2634" y="149"/>
                    </a:cxn>
                    <a:cxn ang="0">
                      <a:pos x="2370" y="60"/>
                    </a:cxn>
                    <a:cxn ang="0">
                      <a:pos x="2090" y="10"/>
                    </a:cxn>
                    <a:cxn ang="0">
                      <a:pos x="1799" y="2"/>
                    </a:cxn>
                    <a:cxn ang="0">
                      <a:pos x="1516" y="38"/>
                    </a:cxn>
                    <a:cxn ang="0">
                      <a:pos x="1245" y="116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7" y="763"/>
                    </a:cxn>
                    <a:cxn ang="0">
                      <a:pos x="229" y="994"/>
                    </a:cxn>
                    <a:cxn ang="0">
                      <a:pos x="115" y="1246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1"/>
                    </a:cxn>
                    <a:cxn ang="0">
                      <a:pos x="60" y="2371"/>
                    </a:cxn>
                    <a:cxn ang="0">
                      <a:pos x="149" y="2635"/>
                    </a:cxn>
                    <a:cxn ang="0">
                      <a:pos x="274" y="2880"/>
                    </a:cxn>
                    <a:cxn ang="0">
                      <a:pos x="434" y="3103"/>
                    </a:cxn>
                    <a:cxn ang="0">
                      <a:pos x="622" y="3302"/>
                    </a:cxn>
                    <a:cxn ang="0">
                      <a:pos x="837" y="3471"/>
                    </a:cxn>
                    <a:cxn ang="0">
                      <a:pos x="1075" y="3608"/>
                    </a:cxn>
                    <a:cxn ang="0">
                      <a:pos x="1334" y="3709"/>
                    </a:cxn>
                    <a:cxn ang="0">
                      <a:pos x="1608" y="3774"/>
                    </a:cxn>
                    <a:cxn ang="0">
                      <a:pos x="1897" y="3795"/>
                    </a:cxn>
                  </a:cxnLst>
                  <a:rect l="0" t="0" r="r" b="b"/>
                  <a:pathLst>
                    <a:path w="3795" h="3795">
                      <a:moveTo>
                        <a:pt x="1897" y="3795"/>
                      </a:moveTo>
                      <a:lnTo>
                        <a:pt x="1994" y="3793"/>
                      </a:lnTo>
                      <a:lnTo>
                        <a:pt x="2090" y="3786"/>
                      </a:lnTo>
                      <a:lnTo>
                        <a:pt x="2185" y="3774"/>
                      </a:lnTo>
                      <a:lnTo>
                        <a:pt x="2279" y="3756"/>
                      </a:lnTo>
                      <a:lnTo>
                        <a:pt x="2370" y="3735"/>
                      </a:lnTo>
                      <a:lnTo>
                        <a:pt x="2460" y="3709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8" y="3608"/>
                      </a:lnTo>
                      <a:lnTo>
                        <a:pt x="2800" y="3565"/>
                      </a:lnTo>
                      <a:lnTo>
                        <a:pt x="2879" y="3520"/>
                      </a:lnTo>
                      <a:lnTo>
                        <a:pt x="2956" y="3471"/>
                      </a:lnTo>
                      <a:lnTo>
                        <a:pt x="3031" y="3417"/>
                      </a:lnTo>
                      <a:lnTo>
                        <a:pt x="3103" y="3360"/>
                      </a:lnTo>
                      <a:lnTo>
                        <a:pt x="3171" y="3302"/>
                      </a:lnTo>
                      <a:lnTo>
                        <a:pt x="3238" y="3238"/>
                      </a:lnTo>
                      <a:lnTo>
                        <a:pt x="3300" y="3172"/>
                      </a:lnTo>
                      <a:lnTo>
                        <a:pt x="3360" y="3103"/>
                      </a:lnTo>
                      <a:lnTo>
                        <a:pt x="3416" y="3031"/>
                      </a:lnTo>
                      <a:lnTo>
                        <a:pt x="3470" y="2957"/>
                      </a:lnTo>
                      <a:lnTo>
                        <a:pt x="3519" y="2880"/>
                      </a:lnTo>
                      <a:lnTo>
                        <a:pt x="3565" y="2801"/>
                      </a:lnTo>
                      <a:lnTo>
                        <a:pt x="3606" y="2720"/>
                      </a:lnTo>
                      <a:lnTo>
                        <a:pt x="3644" y="2635"/>
                      </a:lnTo>
                      <a:lnTo>
                        <a:pt x="3679" y="2548"/>
                      </a:lnTo>
                      <a:lnTo>
                        <a:pt x="3708" y="2461"/>
                      </a:lnTo>
                      <a:lnTo>
                        <a:pt x="3735" y="2371"/>
                      </a:lnTo>
                      <a:lnTo>
                        <a:pt x="3755" y="2279"/>
                      </a:lnTo>
                      <a:lnTo>
                        <a:pt x="3772" y="2185"/>
                      </a:lnTo>
                      <a:lnTo>
                        <a:pt x="3785" y="2091"/>
                      </a:lnTo>
                      <a:lnTo>
                        <a:pt x="3791" y="1995"/>
                      </a:lnTo>
                      <a:lnTo>
                        <a:pt x="3795" y="1898"/>
                      </a:lnTo>
                      <a:lnTo>
                        <a:pt x="3791" y="1801"/>
                      </a:lnTo>
                      <a:lnTo>
                        <a:pt x="3785" y="1704"/>
                      </a:lnTo>
                      <a:lnTo>
                        <a:pt x="3772" y="1609"/>
                      </a:lnTo>
                      <a:lnTo>
                        <a:pt x="3755" y="1516"/>
                      </a:lnTo>
                      <a:lnTo>
                        <a:pt x="3735" y="1425"/>
                      </a:lnTo>
                      <a:lnTo>
                        <a:pt x="3708" y="1334"/>
                      </a:lnTo>
                      <a:lnTo>
                        <a:pt x="3679" y="1246"/>
                      </a:lnTo>
                      <a:lnTo>
                        <a:pt x="3644" y="1160"/>
                      </a:lnTo>
                      <a:lnTo>
                        <a:pt x="3606" y="1076"/>
                      </a:lnTo>
                      <a:lnTo>
                        <a:pt x="3565" y="994"/>
                      </a:lnTo>
                      <a:lnTo>
                        <a:pt x="3519" y="915"/>
                      </a:lnTo>
                      <a:lnTo>
                        <a:pt x="3470" y="838"/>
                      </a:lnTo>
                      <a:lnTo>
                        <a:pt x="3416" y="763"/>
                      </a:lnTo>
                      <a:lnTo>
                        <a:pt x="3360" y="692"/>
                      </a:lnTo>
                      <a:lnTo>
                        <a:pt x="3300" y="622"/>
                      </a:lnTo>
                      <a:lnTo>
                        <a:pt x="3238" y="557"/>
                      </a:lnTo>
                      <a:lnTo>
                        <a:pt x="3171" y="494"/>
                      </a:lnTo>
                      <a:lnTo>
                        <a:pt x="3103" y="434"/>
                      </a:lnTo>
                      <a:lnTo>
                        <a:pt x="3031" y="378"/>
                      </a:lnTo>
                      <a:lnTo>
                        <a:pt x="2956" y="325"/>
                      </a:lnTo>
                      <a:lnTo>
                        <a:pt x="2879" y="276"/>
                      </a:lnTo>
                      <a:lnTo>
                        <a:pt x="2800" y="230"/>
                      </a:lnTo>
                      <a:lnTo>
                        <a:pt x="2718" y="187"/>
                      </a:lnTo>
                      <a:lnTo>
                        <a:pt x="2634" y="149"/>
                      </a:lnTo>
                      <a:lnTo>
                        <a:pt x="2548" y="116"/>
                      </a:lnTo>
                      <a:lnTo>
                        <a:pt x="2460" y="85"/>
                      </a:lnTo>
                      <a:lnTo>
                        <a:pt x="2370" y="60"/>
                      </a:lnTo>
                      <a:lnTo>
                        <a:pt x="2279" y="38"/>
                      </a:lnTo>
                      <a:lnTo>
                        <a:pt x="2185" y="22"/>
                      </a:lnTo>
                      <a:lnTo>
                        <a:pt x="2090" y="10"/>
                      </a:lnTo>
                      <a:lnTo>
                        <a:pt x="1994" y="2"/>
                      </a:lnTo>
                      <a:lnTo>
                        <a:pt x="1897" y="0"/>
                      </a:lnTo>
                      <a:lnTo>
                        <a:pt x="1799" y="2"/>
                      </a:lnTo>
                      <a:lnTo>
                        <a:pt x="1703" y="10"/>
                      </a:lnTo>
                      <a:lnTo>
                        <a:pt x="1608" y="22"/>
                      </a:lnTo>
                      <a:lnTo>
                        <a:pt x="1516" y="38"/>
                      </a:lnTo>
                      <a:lnTo>
                        <a:pt x="1423" y="60"/>
                      </a:lnTo>
                      <a:lnTo>
                        <a:pt x="1334" y="85"/>
                      </a:lnTo>
                      <a:lnTo>
                        <a:pt x="1245" y="116"/>
                      </a:lnTo>
                      <a:lnTo>
                        <a:pt x="1159" y="149"/>
                      </a:lnTo>
                      <a:lnTo>
                        <a:pt x="1075" y="187"/>
                      </a:lnTo>
                      <a:lnTo>
                        <a:pt x="994" y="230"/>
                      </a:lnTo>
                      <a:lnTo>
                        <a:pt x="914" y="276"/>
                      </a:lnTo>
                      <a:lnTo>
                        <a:pt x="837" y="325"/>
                      </a:lnTo>
                      <a:lnTo>
                        <a:pt x="763" y="378"/>
                      </a:lnTo>
                      <a:lnTo>
                        <a:pt x="691" y="434"/>
                      </a:lnTo>
                      <a:lnTo>
                        <a:pt x="622" y="494"/>
                      </a:lnTo>
                      <a:lnTo>
                        <a:pt x="557" y="557"/>
                      </a:lnTo>
                      <a:lnTo>
                        <a:pt x="494" y="622"/>
                      </a:lnTo>
                      <a:lnTo>
                        <a:pt x="434" y="692"/>
                      </a:lnTo>
                      <a:lnTo>
                        <a:pt x="377" y="763"/>
                      </a:lnTo>
                      <a:lnTo>
                        <a:pt x="325" y="838"/>
                      </a:lnTo>
                      <a:lnTo>
                        <a:pt x="274" y="915"/>
                      </a:lnTo>
                      <a:lnTo>
                        <a:pt x="229" y="994"/>
                      </a:lnTo>
                      <a:lnTo>
                        <a:pt x="187" y="1076"/>
                      </a:lnTo>
                      <a:lnTo>
                        <a:pt x="149" y="1160"/>
                      </a:lnTo>
                      <a:lnTo>
                        <a:pt x="115" y="1246"/>
                      </a:lnTo>
                      <a:lnTo>
                        <a:pt x="85" y="1334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09"/>
                      </a:lnTo>
                      <a:lnTo>
                        <a:pt x="10" y="1704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5"/>
                      </a:lnTo>
                      <a:lnTo>
                        <a:pt x="10" y="2091"/>
                      </a:lnTo>
                      <a:lnTo>
                        <a:pt x="22" y="2185"/>
                      </a:lnTo>
                      <a:lnTo>
                        <a:pt x="38" y="2279"/>
                      </a:lnTo>
                      <a:lnTo>
                        <a:pt x="60" y="2371"/>
                      </a:lnTo>
                      <a:lnTo>
                        <a:pt x="85" y="2461"/>
                      </a:lnTo>
                      <a:lnTo>
                        <a:pt x="115" y="2548"/>
                      </a:lnTo>
                      <a:lnTo>
                        <a:pt x="149" y="2635"/>
                      </a:lnTo>
                      <a:lnTo>
                        <a:pt x="187" y="2720"/>
                      </a:lnTo>
                      <a:lnTo>
                        <a:pt x="229" y="2801"/>
                      </a:lnTo>
                      <a:lnTo>
                        <a:pt x="274" y="2880"/>
                      </a:lnTo>
                      <a:lnTo>
                        <a:pt x="325" y="2957"/>
                      </a:lnTo>
                      <a:lnTo>
                        <a:pt x="377" y="3031"/>
                      </a:lnTo>
                      <a:lnTo>
                        <a:pt x="434" y="3103"/>
                      </a:lnTo>
                      <a:lnTo>
                        <a:pt x="494" y="3172"/>
                      </a:lnTo>
                      <a:lnTo>
                        <a:pt x="557" y="3238"/>
                      </a:lnTo>
                      <a:lnTo>
                        <a:pt x="622" y="3302"/>
                      </a:lnTo>
                      <a:lnTo>
                        <a:pt x="691" y="3360"/>
                      </a:lnTo>
                      <a:lnTo>
                        <a:pt x="763" y="3417"/>
                      </a:lnTo>
                      <a:lnTo>
                        <a:pt x="837" y="3471"/>
                      </a:lnTo>
                      <a:lnTo>
                        <a:pt x="914" y="3520"/>
                      </a:lnTo>
                      <a:lnTo>
                        <a:pt x="994" y="3565"/>
                      </a:lnTo>
                      <a:lnTo>
                        <a:pt x="1075" y="3608"/>
                      </a:lnTo>
                      <a:lnTo>
                        <a:pt x="1159" y="3646"/>
                      </a:lnTo>
                      <a:lnTo>
                        <a:pt x="1245" y="3680"/>
                      </a:lnTo>
                      <a:lnTo>
                        <a:pt x="1334" y="3709"/>
                      </a:lnTo>
                      <a:lnTo>
                        <a:pt x="1423" y="3735"/>
                      </a:lnTo>
                      <a:lnTo>
                        <a:pt x="1516" y="3756"/>
                      </a:lnTo>
                      <a:lnTo>
                        <a:pt x="1608" y="3774"/>
                      </a:lnTo>
                      <a:lnTo>
                        <a:pt x="1703" y="3786"/>
                      </a:lnTo>
                      <a:lnTo>
                        <a:pt x="1799" y="3793"/>
                      </a:lnTo>
                      <a:lnTo>
                        <a:pt x="1897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89" name="Text Box 317"/>
                <p:cNvSpPr txBox="1">
                  <a:spLocks noChangeArrowheads="1"/>
                </p:cNvSpPr>
                <p:nvPr/>
              </p:nvSpPr>
              <p:spPr bwMode="auto">
                <a:xfrm>
                  <a:off x="2484" y="977"/>
                  <a:ext cx="816" cy="2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Personnel</a:t>
                  </a:r>
                </a:p>
              </p:txBody>
            </p:sp>
          </p:grpSp>
          <p:grpSp>
            <p:nvGrpSpPr>
              <p:cNvPr id="15" name="Group 318"/>
              <p:cNvGrpSpPr>
                <a:grpSpLocks/>
              </p:cNvGrpSpPr>
              <p:nvPr/>
            </p:nvGrpSpPr>
            <p:grpSpPr bwMode="auto">
              <a:xfrm>
                <a:off x="3492" y="709"/>
                <a:ext cx="942" cy="759"/>
                <a:chOff x="3492" y="709"/>
                <a:chExt cx="942" cy="759"/>
              </a:xfrm>
            </p:grpSpPr>
            <p:grpSp>
              <p:nvGrpSpPr>
                <p:cNvPr id="16" name="Group 319"/>
                <p:cNvGrpSpPr>
                  <a:grpSpLocks/>
                </p:cNvGrpSpPr>
                <p:nvPr/>
              </p:nvGrpSpPr>
              <p:grpSpPr bwMode="auto">
                <a:xfrm>
                  <a:off x="3586" y="709"/>
                  <a:ext cx="759" cy="759"/>
                  <a:chOff x="3586" y="574"/>
                  <a:chExt cx="759" cy="759"/>
                </a:xfrm>
              </p:grpSpPr>
              <p:sp>
                <p:nvSpPr>
                  <p:cNvPr id="1078592" name="Freeform 320"/>
                  <p:cNvSpPr>
                    <a:spLocks/>
                  </p:cNvSpPr>
                  <p:nvPr/>
                </p:nvSpPr>
                <p:spPr bwMode="auto">
                  <a:xfrm>
                    <a:off x="3586" y="574"/>
                    <a:ext cx="759" cy="759"/>
                  </a:xfrm>
                  <a:custGeom>
                    <a:avLst/>
                    <a:gdLst/>
                    <a:ahLst/>
                    <a:cxnLst>
                      <a:cxn ang="0">
                        <a:pos x="2091" y="3786"/>
                      </a:cxn>
                      <a:cxn ang="0">
                        <a:pos x="2371" y="3735"/>
                      </a:cxn>
                      <a:cxn ang="0">
                        <a:pos x="2635" y="3646"/>
                      </a:cxn>
                      <a:cxn ang="0">
                        <a:pos x="2880" y="3520"/>
                      </a:cxn>
                      <a:cxn ang="0">
                        <a:pos x="3104" y="3360"/>
                      </a:cxn>
                      <a:cxn ang="0">
                        <a:pos x="3301" y="3172"/>
                      </a:cxn>
                      <a:cxn ang="0">
                        <a:pos x="3470" y="2957"/>
                      </a:cxn>
                      <a:cxn ang="0">
                        <a:pos x="3607" y="2720"/>
                      </a:cxn>
                      <a:cxn ang="0">
                        <a:pos x="3710" y="2461"/>
                      </a:cxn>
                      <a:cxn ang="0">
                        <a:pos x="3773" y="2185"/>
                      </a:cxn>
                      <a:cxn ang="0">
                        <a:pos x="3795" y="1898"/>
                      </a:cxn>
                      <a:cxn ang="0">
                        <a:pos x="3773" y="1609"/>
                      </a:cxn>
                      <a:cxn ang="0">
                        <a:pos x="3710" y="1334"/>
                      </a:cxn>
                      <a:cxn ang="0">
                        <a:pos x="3607" y="1076"/>
                      </a:cxn>
                      <a:cxn ang="0">
                        <a:pos x="3470" y="838"/>
                      </a:cxn>
                      <a:cxn ang="0">
                        <a:pos x="3301" y="622"/>
                      </a:cxn>
                      <a:cxn ang="0">
                        <a:pos x="3104" y="434"/>
                      </a:cxn>
                      <a:cxn ang="0">
                        <a:pos x="2880" y="276"/>
                      </a:cxn>
                      <a:cxn ang="0">
                        <a:pos x="2635" y="149"/>
                      </a:cxn>
                      <a:cxn ang="0">
                        <a:pos x="2371" y="60"/>
                      </a:cxn>
                      <a:cxn ang="0">
                        <a:pos x="2091" y="10"/>
                      </a:cxn>
                      <a:cxn ang="0">
                        <a:pos x="1800" y="2"/>
                      </a:cxn>
                      <a:cxn ang="0">
                        <a:pos x="1516" y="38"/>
                      </a:cxn>
                      <a:cxn ang="0">
                        <a:pos x="1247" y="116"/>
                      </a:cxn>
                      <a:cxn ang="0">
                        <a:pos x="995" y="230"/>
                      </a:cxn>
                      <a:cxn ang="0">
                        <a:pos x="764" y="378"/>
                      </a:cxn>
                      <a:cxn ang="0">
                        <a:pos x="557" y="557"/>
                      </a:cxn>
                      <a:cxn ang="0">
                        <a:pos x="378" y="763"/>
                      </a:cxn>
                      <a:cxn ang="0">
                        <a:pos x="230" y="994"/>
                      </a:cxn>
                      <a:cxn ang="0">
                        <a:pos x="115" y="1246"/>
                      </a:cxn>
                      <a:cxn ang="0">
                        <a:pos x="39" y="1516"/>
                      </a:cxn>
                      <a:cxn ang="0">
                        <a:pos x="3" y="1801"/>
                      </a:cxn>
                      <a:cxn ang="0">
                        <a:pos x="10" y="2091"/>
                      </a:cxn>
                      <a:cxn ang="0">
                        <a:pos x="60" y="2371"/>
                      </a:cxn>
                      <a:cxn ang="0">
                        <a:pos x="150" y="2635"/>
                      </a:cxn>
                      <a:cxn ang="0">
                        <a:pos x="276" y="2880"/>
                      </a:cxn>
                      <a:cxn ang="0">
                        <a:pos x="435" y="3103"/>
                      </a:cxn>
                      <a:cxn ang="0">
                        <a:pos x="623" y="3302"/>
                      </a:cxn>
                      <a:cxn ang="0">
                        <a:pos x="838" y="3471"/>
                      </a:cxn>
                      <a:cxn ang="0">
                        <a:pos x="1077" y="3608"/>
                      </a:cxn>
                      <a:cxn ang="0">
                        <a:pos x="1335" y="3709"/>
                      </a:cxn>
                      <a:cxn ang="0">
                        <a:pos x="1610" y="3774"/>
                      </a:cxn>
                      <a:cxn ang="0">
                        <a:pos x="1897" y="3795"/>
                      </a:cxn>
                    </a:cxnLst>
                    <a:rect l="0" t="0" r="r" b="b"/>
                    <a:pathLst>
                      <a:path w="3795" h="3795">
                        <a:moveTo>
                          <a:pt x="1897" y="3795"/>
                        </a:moveTo>
                        <a:lnTo>
                          <a:pt x="1995" y="3793"/>
                        </a:lnTo>
                        <a:lnTo>
                          <a:pt x="2091" y="3786"/>
                        </a:lnTo>
                        <a:lnTo>
                          <a:pt x="2186" y="3774"/>
                        </a:lnTo>
                        <a:lnTo>
                          <a:pt x="2279" y="3756"/>
                        </a:lnTo>
                        <a:lnTo>
                          <a:pt x="2371" y="3735"/>
                        </a:lnTo>
                        <a:lnTo>
                          <a:pt x="2461" y="3709"/>
                        </a:lnTo>
                        <a:lnTo>
                          <a:pt x="2549" y="3680"/>
                        </a:lnTo>
                        <a:lnTo>
                          <a:pt x="2635" y="3646"/>
                        </a:lnTo>
                        <a:lnTo>
                          <a:pt x="2719" y="3608"/>
                        </a:lnTo>
                        <a:lnTo>
                          <a:pt x="2801" y="3565"/>
                        </a:lnTo>
                        <a:lnTo>
                          <a:pt x="2880" y="3520"/>
                        </a:lnTo>
                        <a:lnTo>
                          <a:pt x="2958" y="3471"/>
                        </a:lnTo>
                        <a:lnTo>
                          <a:pt x="3032" y="3417"/>
                        </a:lnTo>
                        <a:lnTo>
                          <a:pt x="3104" y="3360"/>
                        </a:lnTo>
                        <a:lnTo>
                          <a:pt x="3172" y="3302"/>
                        </a:lnTo>
                        <a:lnTo>
                          <a:pt x="3238" y="3238"/>
                        </a:lnTo>
                        <a:lnTo>
                          <a:pt x="3301" y="3172"/>
                        </a:lnTo>
                        <a:lnTo>
                          <a:pt x="3361" y="3103"/>
                        </a:lnTo>
                        <a:lnTo>
                          <a:pt x="3418" y="3031"/>
                        </a:lnTo>
                        <a:lnTo>
                          <a:pt x="3470" y="2957"/>
                        </a:lnTo>
                        <a:lnTo>
                          <a:pt x="3520" y="2880"/>
                        </a:lnTo>
                        <a:lnTo>
                          <a:pt x="3566" y="2801"/>
                        </a:lnTo>
                        <a:lnTo>
                          <a:pt x="3607" y="2720"/>
                        </a:lnTo>
                        <a:lnTo>
                          <a:pt x="3645" y="2635"/>
                        </a:lnTo>
                        <a:lnTo>
                          <a:pt x="3679" y="2548"/>
                        </a:lnTo>
                        <a:lnTo>
                          <a:pt x="3710" y="2461"/>
                        </a:lnTo>
                        <a:lnTo>
                          <a:pt x="3735" y="2371"/>
                        </a:lnTo>
                        <a:lnTo>
                          <a:pt x="3756" y="2279"/>
                        </a:lnTo>
                        <a:lnTo>
                          <a:pt x="3773" y="2185"/>
                        </a:lnTo>
                        <a:lnTo>
                          <a:pt x="3785" y="2091"/>
                        </a:lnTo>
                        <a:lnTo>
                          <a:pt x="3792" y="1995"/>
                        </a:lnTo>
                        <a:lnTo>
                          <a:pt x="3795" y="1898"/>
                        </a:lnTo>
                        <a:lnTo>
                          <a:pt x="3792" y="1801"/>
                        </a:lnTo>
                        <a:lnTo>
                          <a:pt x="3785" y="1704"/>
                        </a:lnTo>
                        <a:lnTo>
                          <a:pt x="3773" y="1609"/>
                        </a:lnTo>
                        <a:lnTo>
                          <a:pt x="3756" y="1516"/>
                        </a:lnTo>
                        <a:lnTo>
                          <a:pt x="3735" y="1425"/>
                        </a:lnTo>
                        <a:lnTo>
                          <a:pt x="3710" y="1334"/>
                        </a:lnTo>
                        <a:lnTo>
                          <a:pt x="3679" y="1246"/>
                        </a:lnTo>
                        <a:lnTo>
                          <a:pt x="3645" y="1160"/>
                        </a:lnTo>
                        <a:lnTo>
                          <a:pt x="3607" y="1076"/>
                        </a:lnTo>
                        <a:lnTo>
                          <a:pt x="3566" y="994"/>
                        </a:lnTo>
                        <a:lnTo>
                          <a:pt x="3520" y="915"/>
                        </a:lnTo>
                        <a:lnTo>
                          <a:pt x="3470" y="838"/>
                        </a:lnTo>
                        <a:lnTo>
                          <a:pt x="3418" y="763"/>
                        </a:lnTo>
                        <a:lnTo>
                          <a:pt x="3361" y="692"/>
                        </a:lnTo>
                        <a:lnTo>
                          <a:pt x="3301" y="622"/>
                        </a:lnTo>
                        <a:lnTo>
                          <a:pt x="3238" y="557"/>
                        </a:lnTo>
                        <a:lnTo>
                          <a:pt x="3172" y="494"/>
                        </a:lnTo>
                        <a:lnTo>
                          <a:pt x="3104" y="434"/>
                        </a:lnTo>
                        <a:lnTo>
                          <a:pt x="3032" y="378"/>
                        </a:lnTo>
                        <a:lnTo>
                          <a:pt x="2958" y="325"/>
                        </a:lnTo>
                        <a:lnTo>
                          <a:pt x="2880" y="276"/>
                        </a:lnTo>
                        <a:lnTo>
                          <a:pt x="2801" y="230"/>
                        </a:lnTo>
                        <a:lnTo>
                          <a:pt x="2719" y="187"/>
                        </a:lnTo>
                        <a:lnTo>
                          <a:pt x="2635" y="149"/>
                        </a:lnTo>
                        <a:lnTo>
                          <a:pt x="2549" y="116"/>
                        </a:lnTo>
                        <a:lnTo>
                          <a:pt x="2461" y="85"/>
                        </a:lnTo>
                        <a:lnTo>
                          <a:pt x="2371" y="60"/>
                        </a:lnTo>
                        <a:lnTo>
                          <a:pt x="2279" y="38"/>
                        </a:lnTo>
                        <a:lnTo>
                          <a:pt x="2186" y="22"/>
                        </a:lnTo>
                        <a:lnTo>
                          <a:pt x="2091" y="10"/>
                        </a:lnTo>
                        <a:lnTo>
                          <a:pt x="1995" y="2"/>
                        </a:lnTo>
                        <a:lnTo>
                          <a:pt x="1897" y="0"/>
                        </a:lnTo>
                        <a:lnTo>
                          <a:pt x="1800" y="2"/>
                        </a:lnTo>
                        <a:lnTo>
                          <a:pt x="1704" y="10"/>
                        </a:lnTo>
                        <a:lnTo>
                          <a:pt x="1610" y="22"/>
                        </a:lnTo>
                        <a:lnTo>
                          <a:pt x="1516" y="38"/>
                        </a:lnTo>
                        <a:lnTo>
                          <a:pt x="1424" y="60"/>
                        </a:lnTo>
                        <a:lnTo>
                          <a:pt x="1335" y="85"/>
                        </a:lnTo>
                        <a:lnTo>
                          <a:pt x="1247" y="116"/>
                        </a:lnTo>
                        <a:lnTo>
                          <a:pt x="1161" y="149"/>
                        </a:lnTo>
                        <a:lnTo>
                          <a:pt x="1077" y="187"/>
                        </a:lnTo>
                        <a:lnTo>
                          <a:pt x="995" y="230"/>
                        </a:lnTo>
                        <a:lnTo>
                          <a:pt x="915" y="276"/>
                        </a:lnTo>
                        <a:lnTo>
                          <a:pt x="838" y="325"/>
                        </a:lnTo>
                        <a:lnTo>
                          <a:pt x="764" y="378"/>
                        </a:lnTo>
                        <a:lnTo>
                          <a:pt x="692" y="434"/>
                        </a:lnTo>
                        <a:lnTo>
                          <a:pt x="623" y="494"/>
                        </a:lnTo>
                        <a:lnTo>
                          <a:pt x="557" y="557"/>
                        </a:lnTo>
                        <a:lnTo>
                          <a:pt x="495" y="622"/>
                        </a:lnTo>
                        <a:lnTo>
                          <a:pt x="435" y="692"/>
                        </a:lnTo>
                        <a:lnTo>
                          <a:pt x="378" y="763"/>
                        </a:lnTo>
                        <a:lnTo>
                          <a:pt x="325" y="838"/>
                        </a:lnTo>
                        <a:lnTo>
                          <a:pt x="276" y="915"/>
                        </a:lnTo>
                        <a:lnTo>
                          <a:pt x="230" y="994"/>
                        </a:lnTo>
                        <a:lnTo>
                          <a:pt x="187" y="1076"/>
                        </a:lnTo>
                        <a:lnTo>
                          <a:pt x="150" y="1160"/>
                        </a:lnTo>
                        <a:lnTo>
                          <a:pt x="115" y="1246"/>
                        </a:lnTo>
                        <a:lnTo>
                          <a:pt x="86" y="1334"/>
                        </a:lnTo>
                        <a:lnTo>
                          <a:pt x="60" y="1425"/>
                        </a:lnTo>
                        <a:lnTo>
                          <a:pt x="39" y="1516"/>
                        </a:lnTo>
                        <a:lnTo>
                          <a:pt x="23" y="1609"/>
                        </a:lnTo>
                        <a:lnTo>
                          <a:pt x="10" y="1704"/>
                        </a:lnTo>
                        <a:lnTo>
                          <a:pt x="3" y="1801"/>
                        </a:lnTo>
                        <a:lnTo>
                          <a:pt x="0" y="1898"/>
                        </a:lnTo>
                        <a:lnTo>
                          <a:pt x="3" y="1995"/>
                        </a:lnTo>
                        <a:lnTo>
                          <a:pt x="10" y="2091"/>
                        </a:lnTo>
                        <a:lnTo>
                          <a:pt x="23" y="2185"/>
                        </a:lnTo>
                        <a:lnTo>
                          <a:pt x="39" y="2279"/>
                        </a:lnTo>
                        <a:lnTo>
                          <a:pt x="60" y="2371"/>
                        </a:lnTo>
                        <a:lnTo>
                          <a:pt x="86" y="2461"/>
                        </a:lnTo>
                        <a:lnTo>
                          <a:pt x="115" y="2548"/>
                        </a:lnTo>
                        <a:lnTo>
                          <a:pt x="150" y="2635"/>
                        </a:lnTo>
                        <a:lnTo>
                          <a:pt x="187" y="2720"/>
                        </a:lnTo>
                        <a:lnTo>
                          <a:pt x="230" y="2801"/>
                        </a:lnTo>
                        <a:lnTo>
                          <a:pt x="276" y="2880"/>
                        </a:lnTo>
                        <a:lnTo>
                          <a:pt x="325" y="2957"/>
                        </a:lnTo>
                        <a:lnTo>
                          <a:pt x="378" y="3031"/>
                        </a:lnTo>
                        <a:lnTo>
                          <a:pt x="435" y="3103"/>
                        </a:lnTo>
                        <a:lnTo>
                          <a:pt x="495" y="3172"/>
                        </a:lnTo>
                        <a:lnTo>
                          <a:pt x="557" y="3238"/>
                        </a:lnTo>
                        <a:lnTo>
                          <a:pt x="623" y="3302"/>
                        </a:lnTo>
                        <a:lnTo>
                          <a:pt x="692" y="3360"/>
                        </a:lnTo>
                        <a:lnTo>
                          <a:pt x="764" y="3417"/>
                        </a:lnTo>
                        <a:lnTo>
                          <a:pt x="838" y="3471"/>
                        </a:lnTo>
                        <a:lnTo>
                          <a:pt x="915" y="3520"/>
                        </a:lnTo>
                        <a:lnTo>
                          <a:pt x="995" y="3565"/>
                        </a:lnTo>
                        <a:lnTo>
                          <a:pt x="1077" y="3608"/>
                        </a:lnTo>
                        <a:lnTo>
                          <a:pt x="1161" y="3646"/>
                        </a:lnTo>
                        <a:lnTo>
                          <a:pt x="1247" y="3680"/>
                        </a:lnTo>
                        <a:lnTo>
                          <a:pt x="1335" y="3709"/>
                        </a:lnTo>
                        <a:lnTo>
                          <a:pt x="1424" y="3735"/>
                        </a:lnTo>
                        <a:lnTo>
                          <a:pt x="1516" y="3756"/>
                        </a:lnTo>
                        <a:lnTo>
                          <a:pt x="1610" y="3774"/>
                        </a:lnTo>
                        <a:lnTo>
                          <a:pt x="1704" y="3786"/>
                        </a:lnTo>
                        <a:lnTo>
                          <a:pt x="1800" y="3793"/>
                        </a:lnTo>
                        <a:lnTo>
                          <a:pt x="1897" y="3795"/>
                        </a:lnTo>
                        <a:close/>
                      </a:path>
                    </a:pathLst>
                  </a:custGeom>
                  <a:solidFill>
                    <a:schemeClr val="accent5">
                      <a:lumMod val="75000"/>
                    </a:schemeClr>
                  </a:solidFill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4572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>
                      <a:solidFill>
                        <a:prstClr val="black"/>
                      </a:solidFill>
                      <a:latin typeface="Arial" pitchFamily="34" charset="0"/>
                      <a:ea typeface="ＭＳ Ｐゴシック" pitchFamily="34" charset="-128"/>
                    </a:endParaRPr>
                  </a:p>
                </p:txBody>
              </p:sp>
              <p:sp>
                <p:nvSpPr>
                  <p:cNvPr id="1078593" name="Freeform 321"/>
                  <p:cNvSpPr>
                    <a:spLocks/>
                  </p:cNvSpPr>
                  <p:nvPr/>
                </p:nvSpPr>
                <p:spPr bwMode="auto">
                  <a:xfrm>
                    <a:off x="3586" y="574"/>
                    <a:ext cx="759" cy="759"/>
                  </a:xfrm>
                  <a:custGeom>
                    <a:avLst/>
                    <a:gdLst/>
                    <a:ahLst/>
                    <a:cxnLst>
                      <a:cxn ang="0">
                        <a:pos x="2091" y="3786"/>
                      </a:cxn>
                      <a:cxn ang="0">
                        <a:pos x="2371" y="3735"/>
                      </a:cxn>
                      <a:cxn ang="0">
                        <a:pos x="2635" y="3646"/>
                      </a:cxn>
                      <a:cxn ang="0">
                        <a:pos x="2880" y="3520"/>
                      </a:cxn>
                      <a:cxn ang="0">
                        <a:pos x="3104" y="3360"/>
                      </a:cxn>
                      <a:cxn ang="0">
                        <a:pos x="3301" y="3172"/>
                      </a:cxn>
                      <a:cxn ang="0">
                        <a:pos x="3470" y="2957"/>
                      </a:cxn>
                      <a:cxn ang="0">
                        <a:pos x="3607" y="2720"/>
                      </a:cxn>
                      <a:cxn ang="0">
                        <a:pos x="3710" y="2461"/>
                      </a:cxn>
                      <a:cxn ang="0">
                        <a:pos x="3773" y="2185"/>
                      </a:cxn>
                      <a:cxn ang="0">
                        <a:pos x="3795" y="1898"/>
                      </a:cxn>
                      <a:cxn ang="0">
                        <a:pos x="3773" y="1609"/>
                      </a:cxn>
                      <a:cxn ang="0">
                        <a:pos x="3710" y="1334"/>
                      </a:cxn>
                      <a:cxn ang="0">
                        <a:pos x="3607" y="1076"/>
                      </a:cxn>
                      <a:cxn ang="0">
                        <a:pos x="3470" y="838"/>
                      </a:cxn>
                      <a:cxn ang="0">
                        <a:pos x="3301" y="622"/>
                      </a:cxn>
                      <a:cxn ang="0">
                        <a:pos x="3104" y="434"/>
                      </a:cxn>
                      <a:cxn ang="0">
                        <a:pos x="2880" y="276"/>
                      </a:cxn>
                      <a:cxn ang="0">
                        <a:pos x="2635" y="149"/>
                      </a:cxn>
                      <a:cxn ang="0">
                        <a:pos x="2371" y="60"/>
                      </a:cxn>
                      <a:cxn ang="0">
                        <a:pos x="2091" y="10"/>
                      </a:cxn>
                      <a:cxn ang="0">
                        <a:pos x="1800" y="2"/>
                      </a:cxn>
                      <a:cxn ang="0">
                        <a:pos x="1516" y="38"/>
                      </a:cxn>
                      <a:cxn ang="0">
                        <a:pos x="1247" y="116"/>
                      </a:cxn>
                      <a:cxn ang="0">
                        <a:pos x="995" y="230"/>
                      </a:cxn>
                      <a:cxn ang="0">
                        <a:pos x="764" y="378"/>
                      </a:cxn>
                      <a:cxn ang="0">
                        <a:pos x="557" y="557"/>
                      </a:cxn>
                      <a:cxn ang="0">
                        <a:pos x="378" y="763"/>
                      </a:cxn>
                      <a:cxn ang="0">
                        <a:pos x="230" y="994"/>
                      </a:cxn>
                      <a:cxn ang="0">
                        <a:pos x="115" y="1246"/>
                      </a:cxn>
                      <a:cxn ang="0">
                        <a:pos x="39" y="1516"/>
                      </a:cxn>
                      <a:cxn ang="0">
                        <a:pos x="3" y="1801"/>
                      </a:cxn>
                      <a:cxn ang="0">
                        <a:pos x="10" y="2091"/>
                      </a:cxn>
                      <a:cxn ang="0">
                        <a:pos x="60" y="2371"/>
                      </a:cxn>
                      <a:cxn ang="0">
                        <a:pos x="150" y="2635"/>
                      </a:cxn>
                      <a:cxn ang="0">
                        <a:pos x="276" y="2880"/>
                      </a:cxn>
                      <a:cxn ang="0">
                        <a:pos x="435" y="3103"/>
                      </a:cxn>
                      <a:cxn ang="0">
                        <a:pos x="623" y="3302"/>
                      </a:cxn>
                      <a:cxn ang="0">
                        <a:pos x="838" y="3471"/>
                      </a:cxn>
                      <a:cxn ang="0">
                        <a:pos x="1077" y="3608"/>
                      </a:cxn>
                      <a:cxn ang="0">
                        <a:pos x="1335" y="3709"/>
                      </a:cxn>
                      <a:cxn ang="0">
                        <a:pos x="1610" y="3774"/>
                      </a:cxn>
                      <a:cxn ang="0">
                        <a:pos x="1897" y="3795"/>
                      </a:cxn>
                    </a:cxnLst>
                    <a:rect l="0" t="0" r="r" b="b"/>
                    <a:pathLst>
                      <a:path w="3795" h="3795">
                        <a:moveTo>
                          <a:pt x="1897" y="3795"/>
                        </a:moveTo>
                        <a:lnTo>
                          <a:pt x="1995" y="3793"/>
                        </a:lnTo>
                        <a:lnTo>
                          <a:pt x="2091" y="3786"/>
                        </a:lnTo>
                        <a:lnTo>
                          <a:pt x="2186" y="3774"/>
                        </a:lnTo>
                        <a:lnTo>
                          <a:pt x="2279" y="3756"/>
                        </a:lnTo>
                        <a:lnTo>
                          <a:pt x="2371" y="3735"/>
                        </a:lnTo>
                        <a:lnTo>
                          <a:pt x="2461" y="3709"/>
                        </a:lnTo>
                        <a:lnTo>
                          <a:pt x="2549" y="3680"/>
                        </a:lnTo>
                        <a:lnTo>
                          <a:pt x="2635" y="3646"/>
                        </a:lnTo>
                        <a:lnTo>
                          <a:pt x="2719" y="3608"/>
                        </a:lnTo>
                        <a:lnTo>
                          <a:pt x="2801" y="3565"/>
                        </a:lnTo>
                        <a:lnTo>
                          <a:pt x="2880" y="3520"/>
                        </a:lnTo>
                        <a:lnTo>
                          <a:pt x="2958" y="3471"/>
                        </a:lnTo>
                        <a:lnTo>
                          <a:pt x="3032" y="3417"/>
                        </a:lnTo>
                        <a:lnTo>
                          <a:pt x="3104" y="3360"/>
                        </a:lnTo>
                        <a:lnTo>
                          <a:pt x="3172" y="3302"/>
                        </a:lnTo>
                        <a:lnTo>
                          <a:pt x="3238" y="3238"/>
                        </a:lnTo>
                        <a:lnTo>
                          <a:pt x="3301" y="3172"/>
                        </a:lnTo>
                        <a:lnTo>
                          <a:pt x="3361" y="3103"/>
                        </a:lnTo>
                        <a:lnTo>
                          <a:pt x="3418" y="3031"/>
                        </a:lnTo>
                        <a:lnTo>
                          <a:pt x="3470" y="2957"/>
                        </a:lnTo>
                        <a:lnTo>
                          <a:pt x="3520" y="2880"/>
                        </a:lnTo>
                        <a:lnTo>
                          <a:pt x="3566" y="2801"/>
                        </a:lnTo>
                        <a:lnTo>
                          <a:pt x="3607" y="2720"/>
                        </a:lnTo>
                        <a:lnTo>
                          <a:pt x="3645" y="2635"/>
                        </a:lnTo>
                        <a:lnTo>
                          <a:pt x="3679" y="2548"/>
                        </a:lnTo>
                        <a:lnTo>
                          <a:pt x="3710" y="2461"/>
                        </a:lnTo>
                        <a:lnTo>
                          <a:pt x="3735" y="2371"/>
                        </a:lnTo>
                        <a:lnTo>
                          <a:pt x="3756" y="2279"/>
                        </a:lnTo>
                        <a:lnTo>
                          <a:pt x="3773" y="2185"/>
                        </a:lnTo>
                        <a:lnTo>
                          <a:pt x="3785" y="2091"/>
                        </a:lnTo>
                        <a:lnTo>
                          <a:pt x="3792" y="1995"/>
                        </a:lnTo>
                        <a:lnTo>
                          <a:pt x="3795" y="1898"/>
                        </a:lnTo>
                        <a:lnTo>
                          <a:pt x="3792" y="1801"/>
                        </a:lnTo>
                        <a:lnTo>
                          <a:pt x="3785" y="1704"/>
                        </a:lnTo>
                        <a:lnTo>
                          <a:pt x="3773" y="1609"/>
                        </a:lnTo>
                        <a:lnTo>
                          <a:pt x="3756" y="1516"/>
                        </a:lnTo>
                        <a:lnTo>
                          <a:pt x="3735" y="1425"/>
                        </a:lnTo>
                        <a:lnTo>
                          <a:pt x="3710" y="1334"/>
                        </a:lnTo>
                        <a:lnTo>
                          <a:pt x="3679" y="1246"/>
                        </a:lnTo>
                        <a:lnTo>
                          <a:pt x="3645" y="1160"/>
                        </a:lnTo>
                        <a:lnTo>
                          <a:pt x="3607" y="1076"/>
                        </a:lnTo>
                        <a:lnTo>
                          <a:pt x="3566" y="994"/>
                        </a:lnTo>
                        <a:lnTo>
                          <a:pt x="3520" y="915"/>
                        </a:lnTo>
                        <a:lnTo>
                          <a:pt x="3470" y="838"/>
                        </a:lnTo>
                        <a:lnTo>
                          <a:pt x="3418" y="763"/>
                        </a:lnTo>
                        <a:lnTo>
                          <a:pt x="3361" y="692"/>
                        </a:lnTo>
                        <a:lnTo>
                          <a:pt x="3301" y="622"/>
                        </a:lnTo>
                        <a:lnTo>
                          <a:pt x="3238" y="557"/>
                        </a:lnTo>
                        <a:lnTo>
                          <a:pt x="3172" y="494"/>
                        </a:lnTo>
                        <a:lnTo>
                          <a:pt x="3104" y="434"/>
                        </a:lnTo>
                        <a:lnTo>
                          <a:pt x="3032" y="378"/>
                        </a:lnTo>
                        <a:lnTo>
                          <a:pt x="2958" y="325"/>
                        </a:lnTo>
                        <a:lnTo>
                          <a:pt x="2880" y="276"/>
                        </a:lnTo>
                        <a:lnTo>
                          <a:pt x="2801" y="230"/>
                        </a:lnTo>
                        <a:lnTo>
                          <a:pt x="2719" y="187"/>
                        </a:lnTo>
                        <a:lnTo>
                          <a:pt x="2635" y="149"/>
                        </a:lnTo>
                        <a:lnTo>
                          <a:pt x="2549" y="116"/>
                        </a:lnTo>
                        <a:lnTo>
                          <a:pt x="2461" y="85"/>
                        </a:lnTo>
                        <a:lnTo>
                          <a:pt x="2371" y="60"/>
                        </a:lnTo>
                        <a:lnTo>
                          <a:pt x="2279" y="38"/>
                        </a:lnTo>
                        <a:lnTo>
                          <a:pt x="2186" y="22"/>
                        </a:lnTo>
                        <a:lnTo>
                          <a:pt x="2091" y="10"/>
                        </a:lnTo>
                        <a:lnTo>
                          <a:pt x="1995" y="2"/>
                        </a:lnTo>
                        <a:lnTo>
                          <a:pt x="1897" y="0"/>
                        </a:lnTo>
                        <a:lnTo>
                          <a:pt x="1800" y="2"/>
                        </a:lnTo>
                        <a:lnTo>
                          <a:pt x="1704" y="10"/>
                        </a:lnTo>
                        <a:lnTo>
                          <a:pt x="1610" y="22"/>
                        </a:lnTo>
                        <a:lnTo>
                          <a:pt x="1516" y="38"/>
                        </a:lnTo>
                        <a:lnTo>
                          <a:pt x="1424" y="60"/>
                        </a:lnTo>
                        <a:lnTo>
                          <a:pt x="1335" y="85"/>
                        </a:lnTo>
                        <a:lnTo>
                          <a:pt x="1247" y="116"/>
                        </a:lnTo>
                        <a:lnTo>
                          <a:pt x="1161" y="149"/>
                        </a:lnTo>
                        <a:lnTo>
                          <a:pt x="1077" y="187"/>
                        </a:lnTo>
                        <a:lnTo>
                          <a:pt x="995" y="230"/>
                        </a:lnTo>
                        <a:lnTo>
                          <a:pt x="915" y="276"/>
                        </a:lnTo>
                        <a:lnTo>
                          <a:pt x="838" y="325"/>
                        </a:lnTo>
                        <a:lnTo>
                          <a:pt x="764" y="378"/>
                        </a:lnTo>
                        <a:lnTo>
                          <a:pt x="692" y="434"/>
                        </a:lnTo>
                        <a:lnTo>
                          <a:pt x="623" y="494"/>
                        </a:lnTo>
                        <a:lnTo>
                          <a:pt x="557" y="557"/>
                        </a:lnTo>
                        <a:lnTo>
                          <a:pt x="495" y="622"/>
                        </a:lnTo>
                        <a:lnTo>
                          <a:pt x="435" y="692"/>
                        </a:lnTo>
                        <a:lnTo>
                          <a:pt x="378" y="763"/>
                        </a:lnTo>
                        <a:lnTo>
                          <a:pt x="325" y="838"/>
                        </a:lnTo>
                        <a:lnTo>
                          <a:pt x="276" y="915"/>
                        </a:lnTo>
                        <a:lnTo>
                          <a:pt x="230" y="994"/>
                        </a:lnTo>
                        <a:lnTo>
                          <a:pt x="187" y="1076"/>
                        </a:lnTo>
                        <a:lnTo>
                          <a:pt x="150" y="1160"/>
                        </a:lnTo>
                        <a:lnTo>
                          <a:pt x="115" y="1246"/>
                        </a:lnTo>
                        <a:lnTo>
                          <a:pt x="86" y="1334"/>
                        </a:lnTo>
                        <a:lnTo>
                          <a:pt x="60" y="1425"/>
                        </a:lnTo>
                        <a:lnTo>
                          <a:pt x="39" y="1516"/>
                        </a:lnTo>
                        <a:lnTo>
                          <a:pt x="23" y="1609"/>
                        </a:lnTo>
                        <a:lnTo>
                          <a:pt x="10" y="1704"/>
                        </a:lnTo>
                        <a:lnTo>
                          <a:pt x="3" y="1801"/>
                        </a:lnTo>
                        <a:lnTo>
                          <a:pt x="0" y="1898"/>
                        </a:lnTo>
                        <a:lnTo>
                          <a:pt x="3" y="1995"/>
                        </a:lnTo>
                        <a:lnTo>
                          <a:pt x="10" y="2091"/>
                        </a:lnTo>
                        <a:lnTo>
                          <a:pt x="23" y="2185"/>
                        </a:lnTo>
                        <a:lnTo>
                          <a:pt x="39" y="2279"/>
                        </a:lnTo>
                        <a:lnTo>
                          <a:pt x="60" y="2371"/>
                        </a:lnTo>
                        <a:lnTo>
                          <a:pt x="86" y="2461"/>
                        </a:lnTo>
                        <a:lnTo>
                          <a:pt x="115" y="2548"/>
                        </a:lnTo>
                        <a:lnTo>
                          <a:pt x="150" y="2635"/>
                        </a:lnTo>
                        <a:lnTo>
                          <a:pt x="187" y="2720"/>
                        </a:lnTo>
                        <a:lnTo>
                          <a:pt x="230" y="2801"/>
                        </a:lnTo>
                        <a:lnTo>
                          <a:pt x="276" y="2880"/>
                        </a:lnTo>
                        <a:lnTo>
                          <a:pt x="325" y="2957"/>
                        </a:lnTo>
                        <a:lnTo>
                          <a:pt x="378" y="3031"/>
                        </a:lnTo>
                        <a:lnTo>
                          <a:pt x="435" y="3103"/>
                        </a:lnTo>
                        <a:lnTo>
                          <a:pt x="495" y="3172"/>
                        </a:lnTo>
                        <a:lnTo>
                          <a:pt x="557" y="3238"/>
                        </a:lnTo>
                        <a:lnTo>
                          <a:pt x="623" y="3302"/>
                        </a:lnTo>
                        <a:lnTo>
                          <a:pt x="692" y="3360"/>
                        </a:lnTo>
                        <a:lnTo>
                          <a:pt x="764" y="3417"/>
                        </a:lnTo>
                        <a:lnTo>
                          <a:pt x="838" y="3471"/>
                        </a:lnTo>
                        <a:lnTo>
                          <a:pt x="915" y="3520"/>
                        </a:lnTo>
                        <a:lnTo>
                          <a:pt x="995" y="3565"/>
                        </a:lnTo>
                        <a:lnTo>
                          <a:pt x="1077" y="3608"/>
                        </a:lnTo>
                        <a:lnTo>
                          <a:pt x="1161" y="3646"/>
                        </a:lnTo>
                        <a:lnTo>
                          <a:pt x="1247" y="3680"/>
                        </a:lnTo>
                        <a:lnTo>
                          <a:pt x="1335" y="3709"/>
                        </a:lnTo>
                        <a:lnTo>
                          <a:pt x="1424" y="3735"/>
                        </a:lnTo>
                        <a:lnTo>
                          <a:pt x="1516" y="3756"/>
                        </a:lnTo>
                        <a:lnTo>
                          <a:pt x="1610" y="3774"/>
                        </a:lnTo>
                        <a:lnTo>
                          <a:pt x="1704" y="3786"/>
                        </a:lnTo>
                        <a:lnTo>
                          <a:pt x="1800" y="3793"/>
                        </a:lnTo>
                        <a:lnTo>
                          <a:pt x="1897" y="3795"/>
                        </a:lnTo>
                        <a:close/>
                      </a:path>
                    </a:pathLst>
                  </a:custGeom>
                  <a:noFill/>
                  <a:ln w="3175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defTabSz="4572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>
                      <a:solidFill>
                        <a:prstClr val="black"/>
                      </a:solidFill>
                      <a:latin typeface="Arial" pitchFamily="34" charset="0"/>
                      <a:ea typeface="ＭＳ Ｐゴシック" pitchFamily="34" charset="-128"/>
                    </a:endParaRPr>
                  </a:p>
                </p:txBody>
              </p:sp>
            </p:grpSp>
            <p:sp>
              <p:nvSpPr>
                <p:cNvPr id="1078594" name="Text Box 322"/>
                <p:cNvSpPr txBox="1">
                  <a:spLocks noChangeArrowheads="1"/>
                </p:cNvSpPr>
                <p:nvPr/>
              </p:nvSpPr>
              <p:spPr bwMode="auto">
                <a:xfrm>
                  <a:off x="3492" y="985"/>
                  <a:ext cx="942" cy="2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Equipment</a:t>
                  </a:r>
                </a:p>
              </p:txBody>
            </p:sp>
          </p:grpSp>
          <p:grpSp>
            <p:nvGrpSpPr>
              <p:cNvPr id="17" name="Group 323"/>
              <p:cNvGrpSpPr>
                <a:grpSpLocks/>
              </p:cNvGrpSpPr>
              <p:nvPr/>
            </p:nvGrpSpPr>
            <p:grpSpPr bwMode="auto">
              <a:xfrm>
                <a:off x="1408" y="2429"/>
                <a:ext cx="862" cy="759"/>
                <a:chOff x="1408" y="2429"/>
                <a:chExt cx="862" cy="759"/>
              </a:xfrm>
            </p:grpSpPr>
            <p:sp>
              <p:nvSpPr>
                <p:cNvPr id="1078596" name="Freeform 324"/>
                <p:cNvSpPr>
                  <a:spLocks/>
                </p:cNvSpPr>
                <p:nvPr/>
              </p:nvSpPr>
              <p:spPr bwMode="auto">
                <a:xfrm>
                  <a:off x="1454" y="2429"/>
                  <a:ext cx="759" cy="759"/>
                </a:xfrm>
                <a:custGeom>
                  <a:avLst/>
                  <a:gdLst/>
                  <a:ahLst/>
                  <a:cxnLst>
                    <a:cxn ang="0">
                      <a:pos x="2091" y="3786"/>
                    </a:cxn>
                    <a:cxn ang="0">
                      <a:pos x="2371" y="3735"/>
                    </a:cxn>
                    <a:cxn ang="0">
                      <a:pos x="2634" y="3646"/>
                    </a:cxn>
                    <a:cxn ang="0">
                      <a:pos x="2880" y="3521"/>
                    </a:cxn>
                    <a:cxn ang="0">
                      <a:pos x="3103" y="3362"/>
                    </a:cxn>
                    <a:cxn ang="0">
                      <a:pos x="3301" y="3173"/>
                    </a:cxn>
                    <a:cxn ang="0">
                      <a:pos x="3470" y="2958"/>
                    </a:cxn>
                    <a:cxn ang="0">
                      <a:pos x="3608" y="2720"/>
                    </a:cxn>
                    <a:cxn ang="0">
                      <a:pos x="3709" y="2461"/>
                    </a:cxn>
                    <a:cxn ang="0">
                      <a:pos x="3773" y="2187"/>
                    </a:cxn>
                    <a:cxn ang="0">
                      <a:pos x="3795" y="1898"/>
                    </a:cxn>
                    <a:cxn ang="0">
                      <a:pos x="3773" y="1610"/>
                    </a:cxn>
                    <a:cxn ang="0">
                      <a:pos x="3709" y="1335"/>
                    </a:cxn>
                    <a:cxn ang="0">
                      <a:pos x="3608" y="1077"/>
                    </a:cxn>
                    <a:cxn ang="0">
                      <a:pos x="3470" y="838"/>
                    </a:cxn>
                    <a:cxn ang="0">
                      <a:pos x="3301" y="623"/>
                    </a:cxn>
                    <a:cxn ang="0">
                      <a:pos x="3103" y="435"/>
                    </a:cxn>
                    <a:cxn ang="0">
                      <a:pos x="2880" y="276"/>
                    </a:cxn>
                    <a:cxn ang="0">
                      <a:pos x="2634" y="150"/>
                    </a:cxn>
                    <a:cxn ang="0">
                      <a:pos x="2371" y="60"/>
                    </a:cxn>
                    <a:cxn ang="0">
                      <a:pos x="2091" y="10"/>
                    </a:cxn>
                    <a:cxn ang="0">
                      <a:pos x="1801" y="3"/>
                    </a:cxn>
                    <a:cxn ang="0">
                      <a:pos x="1516" y="39"/>
                    </a:cxn>
                    <a:cxn ang="0">
                      <a:pos x="1246" y="116"/>
                    </a:cxn>
                    <a:cxn ang="0">
                      <a:pos x="994" y="230"/>
                    </a:cxn>
                    <a:cxn ang="0">
                      <a:pos x="763" y="378"/>
                    </a:cxn>
                    <a:cxn ang="0">
                      <a:pos x="557" y="557"/>
                    </a:cxn>
                    <a:cxn ang="0">
                      <a:pos x="378" y="764"/>
                    </a:cxn>
                    <a:cxn ang="0">
                      <a:pos x="230" y="995"/>
                    </a:cxn>
                    <a:cxn ang="0">
                      <a:pos x="116" y="1247"/>
                    </a:cxn>
                    <a:cxn ang="0">
                      <a:pos x="38" y="1516"/>
                    </a:cxn>
                    <a:cxn ang="0">
                      <a:pos x="2" y="1801"/>
                    </a:cxn>
                    <a:cxn ang="0">
                      <a:pos x="10" y="2092"/>
                    </a:cxn>
                    <a:cxn ang="0">
                      <a:pos x="60" y="2372"/>
                    </a:cxn>
                    <a:cxn ang="0">
                      <a:pos x="150" y="2636"/>
                    </a:cxn>
                    <a:cxn ang="0">
                      <a:pos x="276" y="2881"/>
                    </a:cxn>
                    <a:cxn ang="0">
                      <a:pos x="434" y="3104"/>
                    </a:cxn>
                    <a:cxn ang="0">
                      <a:pos x="623" y="3302"/>
                    </a:cxn>
                    <a:cxn ang="0">
                      <a:pos x="838" y="3471"/>
                    </a:cxn>
                    <a:cxn ang="0">
                      <a:pos x="1076" y="3608"/>
                    </a:cxn>
                    <a:cxn ang="0">
                      <a:pos x="1334" y="3710"/>
                    </a:cxn>
                    <a:cxn ang="0">
                      <a:pos x="1609" y="3774"/>
                    </a:cxn>
                    <a:cxn ang="0">
                      <a:pos x="1898" y="3795"/>
                    </a:cxn>
                  </a:cxnLst>
                  <a:rect l="0" t="0" r="r" b="b"/>
                  <a:pathLst>
                    <a:path w="3795" h="3795">
                      <a:moveTo>
                        <a:pt x="1898" y="3795"/>
                      </a:moveTo>
                      <a:lnTo>
                        <a:pt x="1995" y="3793"/>
                      </a:lnTo>
                      <a:lnTo>
                        <a:pt x="2091" y="3786"/>
                      </a:lnTo>
                      <a:lnTo>
                        <a:pt x="2185" y="3774"/>
                      </a:lnTo>
                      <a:lnTo>
                        <a:pt x="2279" y="3757"/>
                      </a:lnTo>
                      <a:lnTo>
                        <a:pt x="2371" y="3735"/>
                      </a:lnTo>
                      <a:lnTo>
                        <a:pt x="2461" y="3710"/>
                      </a:lnTo>
                      <a:lnTo>
                        <a:pt x="2548" y="3680"/>
                      </a:lnTo>
                      <a:lnTo>
                        <a:pt x="2634" y="3646"/>
                      </a:lnTo>
                      <a:lnTo>
                        <a:pt x="2719" y="3608"/>
                      </a:lnTo>
                      <a:lnTo>
                        <a:pt x="2801" y="3566"/>
                      </a:lnTo>
                      <a:lnTo>
                        <a:pt x="2880" y="3521"/>
                      </a:lnTo>
                      <a:lnTo>
                        <a:pt x="2957" y="3471"/>
                      </a:lnTo>
                      <a:lnTo>
                        <a:pt x="3031" y="3418"/>
                      </a:lnTo>
                      <a:lnTo>
                        <a:pt x="3103" y="3362"/>
                      </a:lnTo>
                      <a:lnTo>
                        <a:pt x="3172" y="3302"/>
                      </a:lnTo>
                      <a:lnTo>
                        <a:pt x="3238" y="3238"/>
                      </a:lnTo>
                      <a:lnTo>
                        <a:pt x="3301" y="3173"/>
                      </a:lnTo>
                      <a:lnTo>
                        <a:pt x="3360" y="3104"/>
                      </a:lnTo>
                      <a:lnTo>
                        <a:pt x="3417" y="3032"/>
                      </a:lnTo>
                      <a:lnTo>
                        <a:pt x="3470" y="2958"/>
                      </a:lnTo>
                      <a:lnTo>
                        <a:pt x="3519" y="2881"/>
                      </a:lnTo>
                      <a:lnTo>
                        <a:pt x="3565" y="2801"/>
                      </a:lnTo>
                      <a:lnTo>
                        <a:pt x="3608" y="2720"/>
                      </a:lnTo>
                      <a:lnTo>
                        <a:pt x="3646" y="2636"/>
                      </a:lnTo>
                      <a:lnTo>
                        <a:pt x="3679" y="2550"/>
                      </a:lnTo>
                      <a:lnTo>
                        <a:pt x="3709" y="2461"/>
                      </a:lnTo>
                      <a:lnTo>
                        <a:pt x="3735" y="2372"/>
                      </a:lnTo>
                      <a:lnTo>
                        <a:pt x="3756" y="2279"/>
                      </a:lnTo>
                      <a:lnTo>
                        <a:pt x="3773" y="2187"/>
                      </a:lnTo>
                      <a:lnTo>
                        <a:pt x="3785" y="2092"/>
                      </a:lnTo>
                      <a:lnTo>
                        <a:pt x="3793" y="1996"/>
                      </a:lnTo>
                      <a:lnTo>
                        <a:pt x="3795" y="1898"/>
                      </a:lnTo>
                      <a:lnTo>
                        <a:pt x="3793" y="1801"/>
                      </a:lnTo>
                      <a:lnTo>
                        <a:pt x="3785" y="1705"/>
                      </a:lnTo>
                      <a:lnTo>
                        <a:pt x="3773" y="1610"/>
                      </a:lnTo>
                      <a:lnTo>
                        <a:pt x="3756" y="1516"/>
                      </a:lnTo>
                      <a:lnTo>
                        <a:pt x="3735" y="1425"/>
                      </a:lnTo>
                      <a:lnTo>
                        <a:pt x="3709" y="1335"/>
                      </a:lnTo>
                      <a:lnTo>
                        <a:pt x="3679" y="1247"/>
                      </a:lnTo>
                      <a:lnTo>
                        <a:pt x="3646" y="1161"/>
                      </a:lnTo>
                      <a:lnTo>
                        <a:pt x="3608" y="1077"/>
                      </a:lnTo>
                      <a:lnTo>
                        <a:pt x="3565" y="995"/>
                      </a:lnTo>
                      <a:lnTo>
                        <a:pt x="3519" y="916"/>
                      </a:lnTo>
                      <a:lnTo>
                        <a:pt x="3470" y="838"/>
                      </a:lnTo>
                      <a:lnTo>
                        <a:pt x="3417" y="764"/>
                      </a:lnTo>
                      <a:lnTo>
                        <a:pt x="3360" y="692"/>
                      </a:lnTo>
                      <a:lnTo>
                        <a:pt x="3301" y="623"/>
                      </a:lnTo>
                      <a:lnTo>
                        <a:pt x="3238" y="557"/>
                      </a:lnTo>
                      <a:lnTo>
                        <a:pt x="3172" y="495"/>
                      </a:lnTo>
                      <a:lnTo>
                        <a:pt x="3103" y="435"/>
                      </a:lnTo>
                      <a:lnTo>
                        <a:pt x="3031" y="378"/>
                      </a:lnTo>
                      <a:lnTo>
                        <a:pt x="2957" y="325"/>
                      </a:lnTo>
                      <a:lnTo>
                        <a:pt x="2880" y="276"/>
                      </a:lnTo>
                      <a:lnTo>
                        <a:pt x="2801" y="230"/>
                      </a:lnTo>
                      <a:lnTo>
                        <a:pt x="2719" y="187"/>
                      </a:lnTo>
                      <a:lnTo>
                        <a:pt x="2634" y="150"/>
                      </a:lnTo>
                      <a:lnTo>
                        <a:pt x="2548" y="116"/>
                      </a:lnTo>
                      <a:lnTo>
                        <a:pt x="2461" y="86"/>
                      </a:lnTo>
                      <a:lnTo>
                        <a:pt x="2371" y="60"/>
                      </a:lnTo>
                      <a:lnTo>
                        <a:pt x="2279" y="39"/>
                      </a:lnTo>
                      <a:lnTo>
                        <a:pt x="2185" y="22"/>
                      </a:lnTo>
                      <a:lnTo>
                        <a:pt x="2091" y="10"/>
                      </a:lnTo>
                      <a:lnTo>
                        <a:pt x="1995" y="3"/>
                      </a:lnTo>
                      <a:lnTo>
                        <a:pt x="1898" y="0"/>
                      </a:lnTo>
                      <a:lnTo>
                        <a:pt x="1801" y="3"/>
                      </a:lnTo>
                      <a:lnTo>
                        <a:pt x="1704" y="10"/>
                      </a:lnTo>
                      <a:lnTo>
                        <a:pt x="1609" y="22"/>
                      </a:lnTo>
                      <a:lnTo>
                        <a:pt x="1516" y="39"/>
                      </a:lnTo>
                      <a:lnTo>
                        <a:pt x="1425" y="60"/>
                      </a:lnTo>
                      <a:lnTo>
                        <a:pt x="1334" y="86"/>
                      </a:lnTo>
                      <a:lnTo>
                        <a:pt x="1246" y="116"/>
                      </a:lnTo>
                      <a:lnTo>
                        <a:pt x="1160" y="150"/>
                      </a:lnTo>
                      <a:lnTo>
                        <a:pt x="1076" y="187"/>
                      </a:lnTo>
                      <a:lnTo>
                        <a:pt x="994" y="230"/>
                      </a:lnTo>
                      <a:lnTo>
                        <a:pt x="915" y="276"/>
                      </a:lnTo>
                      <a:lnTo>
                        <a:pt x="838" y="325"/>
                      </a:lnTo>
                      <a:lnTo>
                        <a:pt x="763" y="378"/>
                      </a:lnTo>
                      <a:lnTo>
                        <a:pt x="692" y="435"/>
                      </a:lnTo>
                      <a:lnTo>
                        <a:pt x="623" y="495"/>
                      </a:lnTo>
                      <a:lnTo>
                        <a:pt x="557" y="557"/>
                      </a:lnTo>
                      <a:lnTo>
                        <a:pt x="494" y="623"/>
                      </a:lnTo>
                      <a:lnTo>
                        <a:pt x="434" y="692"/>
                      </a:lnTo>
                      <a:lnTo>
                        <a:pt x="378" y="764"/>
                      </a:lnTo>
                      <a:lnTo>
                        <a:pt x="325" y="838"/>
                      </a:lnTo>
                      <a:lnTo>
                        <a:pt x="276" y="916"/>
                      </a:lnTo>
                      <a:lnTo>
                        <a:pt x="230" y="995"/>
                      </a:lnTo>
                      <a:lnTo>
                        <a:pt x="188" y="1077"/>
                      </a:lnTo>
                      <a:lnTo>
                        <a:pt x="150" y="1161"/>
                      </a:lnTo>
                      <a:lnTo>
                        <a:pt x="116" y="1247"/>
                      </a:lnTo>
                      <a:lnTo>
                        <a:pt x="85" y="1335"/>
                      </a:lnTo>
                      <a:lnTo>
                        <a:pt x="60" y="1425"/>
                      </a:lnTo>
                      <a:lnTo>
                        <a:pt x="38" y="1516"/>
                      </a:lnTo>
                      <a:lnTo>
                        <a:pt x="22" y="1610"/>
                      </a:lnTo>
                      <a:lnTo>
                        <a:pt x="10" y="1705"/>
                      </a:lnTo>
                      <a:lnTo>
                        <a:pt x="2" y="1801"/>
                      </a:lnTo>
                      <a:lnTo>
                        <a:pt x="0" y="1898"/>
                      </a:lnTo>
                      <a:lnTo>
                        <a:pt x="2" y="1996"/>
                      </a:lnTo>
                      <a:lnTo>
                        <a:pt x="10" y="2092"/>
                      </a:lnTo>
                      <a:lnTo>
                        <a:pt x="22" y="2187"/>
                      </a:lnTo>
                      <a:lnTo>
                        <a:pt x="38" y="2279"/>
                      </a:lnTo>
                      <a:lnTo>
                        <a:pt x="60" y="2372"/>
                      </a:lnTo>
                      <a:lnTo>
                        <a:pt x="85" y="2461"/>
                      </a:lnTo>
                      <a:lnTo>
                        <a:pt x="116" y="2550"/>
                      </a:lnTo>
                      <a:lnTo>
                        <a:pt x="150" y="2636"/>
                      </a:lnTo>
                      <a:lnTo>
                        <a:pt x="188" y="2720"/>
                      </a:lnTo>
                      <a:lnTo>
                        <a:pt x="230" y="2801"/>
                      </a:lnTo>
                      <a:lnTo>
                        <a:pt x="276" y="2881"/>
                      </a:lnTo>
                      <a:lnTo>
                        <a:pt x="325" y="2958"/>
                      </a:lnTo>
                      <a:lnTo>
                        <a:pt x="378" y="3032"/>
                      </a:lnTo>
                      <a:lnTo>
                        <a:pt x="434" y="3104"/>
                      </a:lnTo>
                      <a:lnTo>
                        <a:pt x="494" y="3173"/>
                      </a:lnTo>
                      <a:lnTo>
                        <a:pt x="557" y="3238"/>
                      </a:lnTo>
                      <a:lnTo>
                        <a:pt x="623" y="3302"/>
                      </a:lnTo>
                      <a:lnTo>
                        <a:pt x="692" y="3362"/>
                      </a:lnTo>
                      <a:lnTo>
                        <a:pt x="763" y="3418"/>
                      </a:lnTo>
                      <a:lnTo>
                        <a:pt x="838" y="3471"/>
                      </a:lnTo>
                      <a:lnTo>
                        <a:pt x="915" y="3521"/>
                      </a:lnTo>
                      <a:lnTo>
                        <a:pt x="994" y="3566"/>
                      </a:lnTo>
                      <a:lnTo>
                        <a:pt x="1076" y="3608"/>
                      </a:lnTo>
                      <a:lnTo>
                        <a:pt x="1160" y="3646"/>
                      </a:lnTo>
                      <a:lnTo>
                        <a:pt x="1246" y="3680"/>
                      </a:lnTo>
                      <a:lnTo>
                        <a:pt x="1334" y="3710"/>
                      </a:lnTo>
                      <a:lnTo>
                        <a:pt x="1425" y="3735"/>
                      </a:lnTo>
                      <a:lnTo>
                        <a:pt x="1516" y="3757"/>
                      </a:lnTo>
                      <a:lnTo>
                        <a:pt x="1609" y="3774"/>
                      </a:lnTo>
                      <a:lnTo>
                        <a:pt x="1704" y="3786"/>
                      </a:lnTo>
                      <a:lnTo>
                        <a:pt x="1801" y="3793"/>
                      </a:lnTo>
                      <a:lnTo>
                        <a:pt x="1898" y="3795"/>
                      </a:lnTo>
                      <a:close/>
                    </a:path>
                  </a:pathLst>
                </a:custGeom>
                <a:solidFill>
                  <a:schemeClr val="accent5">
                    <a:lumMod val="75000"/>
                  </a:schemeClr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prstClr val="black"/>
                    </a:solidFill>
                    <a:latin typeface="Arial" pitchFamily="34" charset="0"/>
                    <a:ea typeface="ＭＳ Ｐゴシック" pitchFamily="34" charset="-128"/>
                  </a:endParaRPr>
                </a:p>
              </p:txBody>
            </p:sp>
            <p:sp>
              <p:nvSpPr>
                <p:cNvPr id="1078597" name="Text Box 325"/>
                <p:cNvSpPr txBox="1">
                  <a:spLocks noChangeArrowheads="1"/>
                </p:cNvSpPr>
                <p:nvPr/>
              </p:nvSpPr>
              <p:spPr bwMode="auto">
                <a:xfrm>
                  <a:off x="1408" y="2609"/>
                  <a:ext cx="862" cy="3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 wrap="square">
                  <a:spAutoFit/>
                </a:bodyPr>
                <a:lstStyle/>
                <a:p>
                  <a:pPr algn="ctr" defTabSz="4572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en-US" sz="1600" dirty="0">
                      <a:solidFill>
                        <a:srgbClr val="FFD911"/>
                      </a:solidFill>
                      <a:ea typeface="ＭＳ Ｐゴシック" pitchFamily="34" charset="-128"/>
                    </a:rPr>
                    <a:t>Documents &amp; Records</a:t>
                  </a:r>
                </a:p>
              </p:txBody>
            </p:sp>
          </p:grpSp>
        </p:grpSp>
      </p:grpSp>
      <p:sp>
        <p:nvSpPr>
          <p:cNvPr id="18" name="Rectangle 17"/>
          <p:cNvSpPr/>
          <p:nvPr/>
        </p:nvSpPr>
        <p:spPr>
          <a:xfrm>
            <a:off x="263383" y="1428550"/>
            <a:ext cx="4155551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prstClr val="black"/>
                </a:solidFill>
                <a:ea typeface="ＭＳ Ｐゴシック" pitchFamily="34" charset="-128"/>
              </a:rPr>
              <a:t>The organizational structure, responsibilities, processes, procedures, and resources for implementing quality management of the laboratory or testing site. 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86" name="Rectangle 85"/>
          <p:cNvSpPr/>
          <p:nvPr/>
        </p:nvSpPr>
        <p:spPr>
          <a:xfrm>
            <a:off x="247144" y="4449062"/>
            <a:ext cx="415555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prstClr val="black"/>
              </a:solidFill>
              <a:ea typeface="ＭＳ Ｐゴシック" pitchFamily="34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FF0000"/>
                </a:solidFill>
              </a:rPr>
              <a:t>In other words…</a:t>
            </a:r>
            <a:r>
              <a:rPr lang="en-US" sz="2000" i="1" dirty="0">
                <a:solidFill>
                  <a:srgbClr val="FF0000"/>
                </a:solidFill>
              </a:rPr>
              <a:t>all activities contribute to the quality of testing, directly or indirectly! </a:t>
            </a:r>
            <a:endParaRPr lang="en-US" sz="20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73754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80D0B-5DBE-4478-B4AD-4200CCA30372}" type="slidenum">
              <a:rPr lang="en-US"/>
              <a:pPr/>
              <a:t>7</a:t>
            </a:fld>
            <a:endParaRPr lang="en-US"/>
          </a:p>
        </p:txBody>
      </p:sp>
      <p:sp>
        <p:nvSpPr>
          <p:cNvPr id="952323" name="Text Box 3"/>
          <p:cNvSpPr txBox="1">
            <a:spLocks noChangeArrowheads="1"/>
          </p:cNvSpPr>
          <p:nvPr/>
        </p:nvSpPr>
        <p:spPr bwMode="auto">
          <a:xfrm>
            <a:off x="0" y="21"/>
            <a:ext cx="12188825" cy="1069848"/>
          </a:xfrm>
          <a:prstGeom prst="rect">
            <a:avLst/>
          </a:prstGeom>
          <a:solidFill>
            <a:schemeClr val="accent5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 sz="24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2pPr>
            <a:lvl3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3pPr>
            <a:lvl4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4pPr>
            <a:lvl5pPr algn="ctr" defTabSz="457200" eaLnBrk="0" fontAlgn="base" hangingPunct="0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en-US" dirty="0"/>
              <a:t>Quality Assurance should be implemented in all phases of Testing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611359" y="914412"/>
            <a:ext cx="7286821" cy="5822555"/>
            <a:chOff x="2611351" y="914404"/>
            <a:chExt cx="7286820" cy="5822555"/>
          </a:xfrm>
        </p:grpSpPr>
        <p:sp>
          <p:nvSpPr>
            <p:cNvPr id="952322" name="Oval 2"/>
            <p:cNvSpPr>
              <a:spLocks noChangeArrowheads="1"/>
            </p:cNvSpPr>
            <p:nvPr/>
          </p:nvSpPr>
          <p:spPr bwMode="auto">
            <a:xfrm>
              <a:off x="2791926" y="1227683"/>
              <a:ext cx="6703854" cy="50292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952324" name="WordArt 4"/>
            <p:cNvSpPr>
              <a:spLocks noChangeArrowheads="1" noChangeShapeType="1" noTextEdit="1"/>
            </p:cNvSpPr>
            <p:nvPr/>
          </p:nvSpPr>
          <p:spPr bwMode="auto">
            <a:xfrm rot="4275814">
              <a:off x="8416082" y="2660723"/>
              <a:ext cx="1857375" cy="533261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0800000"/>
                </a:avLst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8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/>
                  <a:ea typeface="ＭＳ Ｐゴシック" pitchFamily="34" charset="-128"/>
                  <a:cs typeface="Arial"/>
                </a:rPr>
                <a:t>Pre-Testing</a:t>
              </a:r>
            </a:p>
          </p:txBody>
        </p:sp>
        <p:sp>
          <p:nvSpPr>
            <p:cNvPr id="952325" name="WordArt 5"/>
            <p:cNvSpPr>
              <a:spLocks noChangeArrowheads="1" noChangeShapeType="1" noTextEdit="1"/>
            </p:cNvSpPr>
            <p:nvPr/>
          </p:nvSpPr>
          <p:spPr bwMode="auto">
            <a:xfrm>
              <a:off x="5281824" y="6276975"/>
              <a:ext cx="1904504" cy="459984"/>
            </a:xfrm>
            <a:prstGeom prst="rect">
              <a:avLst/>
            </a:prstGeom>
          </p:spPr>
          <p:txBody>
            <a:bodyPr wrap="none" fromWordArt="1">
              <a:prstTxWarp prst="textCanDown">
                <a:avLst>
                  <a:gd name="adj" fmla="val 33333"/>
                </a:avLst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36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/>
                  <a:ea typeface="ＭＳ Ｐゴシック" pitchFamily="34" charset="-128"/>
                  <a:cs typeface="Arial"/>
                </a:rPr>
                <a:t>Testing</a:t>
              </a:r>
            </a:p>
          </p:txBody>
        </p:sp>
        <p:sp>
          <p:nvSpPr>
            <p:cNvPr id="952326" name="WordArt 6"/>
            <p:cNvSpPr>
              <a:spLocks noChangeArrowheads="1" noChangeShapeType="1" noTextEdit="1"/>
            </p:cNvSpPr>
            <p:nvPr/>
          </p:nvSpPr>
          <p:spPr bwMode="auto">
            <a:xfrm rot="17143128">
              <a:off x="1868332" y="2555070"/>
              <a:ext cx="2019300" cy="533261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0800000"/>
                </a:avLst>
              </a:prstTxWarp>
            </a:bodyPr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8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/>
                  <a:ea typeface="ＭＳ Ｐゴシック" pitchFamily="34" charset="-128"/>
                  <a:cs typeface="Arial"/>
                </a:rPr>
                <a:t>Post-Testing</a:t>
              </a:r>
            </a:p>
          </p:txBody>
        </p:sp>
        <p:pic>
          <p:nvPicPr>
            <p:cNvPr id="952327" name="Picture 7"/>
            <p:cNvPicPr>
              <a:picLocks noChangeAspect="1" noChangeArrowheads="1"/>
            </p:cNvPicPr>
            <p:nvPr/>
          </p:nvPicPr>
          <p:blipFill>
            <a:blip r:embed="rId3" cstate="print"/>
            <a:srcRect r="12122"/>
            <a:stretch>
              <a:fillRect/>
            </a:stretch>
          </p:blipFill>
          <p:spPr bwMode="auto">
            <a:xfrm>
              <a:off x="5332412" y="914404"/>
              <a:ext cx="1726750" cy="1027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28" name="Picture 8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186328" y="4533900"/>
              <a:ext cx="1117309" cy="547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29" name="Picture 9"/>
            <p:cNvPicPr>
              <a:picLocks noChangeAspect="1" noChangeArrowheads="1"/>
            </p:cNvPicPr>
            <p:nvPr/>
          </p:nvPicPr>
          <p:blipFill>
            <a:blip r:embed="rId5" cstate="print"/>
            <a:srcRect r="38889"/>
            <a:stretch>
              <a:fillRect/>
            </a:stretch>
          </p:blipFill>
          <p:spPr bwMode="auto">
            <a:xfrm>
              <a:off x="8430604" y="3124200"/>
              <a:ext cx="914162" cy="642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30" name="Picture 10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50353" y="1600200"/>
              <a:ext cx="1726750" cy="882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31" name="Picture 11"/>
            <p:cNvPicPr>
              <a:picLocks noChangeAspect="1" noChangeArrowheads="1"/>
            </p:cNvPicPr>
            <p:nvPr/>
          </p:nvPicPr>
          <p:blipFill>
            <a:blip r:embed="rId7" cstate="print"/>
            <a:srcRect r="21428"/>
            <a:stretch>
              <a:fillRect/>
            </a:stretch>
          </p:blipFill>
          <p:spPr bwMode="auto">
            <a:xfrm>
              <a:off x="5637333" y="4794385"/>
              <a:ext cx="1117309" cy="776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32" name="Picture 1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047206" y="1981200"/>
              <a:ext cx="1218883" cy="914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33" name="Picture 13"/>
            <p:cNvPicPr>
              <a:picLocks noChangeAspect="1" noChangeArrowheads="1"/>
            </p:cNvPicPr>
            <p:nvPr/>
          </p:nvPicPr>
          <p:blipFill>
            <a:blip r:embed="rId9" cstate="print"/>
            <a:srcRect b="21661"/>
            <a:stretch>
              <a:fillRect/>
            </a:stretch>
          </p:blipFill>
          <p:spPr bwMode="auto">
            <a:xfrm>
              <a:off x="8026523" y="4114800"/>
              <a:ext cx="1426262" cy="838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952334" name="Picture 14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945634" y="2971801"/>
              <a:ext cx="1523603" cy="9953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52335" name="Freeform 15"/>
            <p:cNvSpPr>
              <a:spLocks/>
            </p:cNvSpPr>
            <p:nvPr/>
          </p:nvSpPr>
          <p:spPr bwMode="auto">
            <a:xfrm>
              <a:off x="4773956" y="1447800"/>
              <a:ext cx="3073056" cy="44533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93" y="2772"/>
                </a:cxn>
              </a:cxnLst>
              <a:rect l="0" t="0" r="r" b="b"/>
              <a:pathLst>
                <a:path w="1593" h="2772">
                  <a:moveTo>
                    <a:pt x="0" y="0"/>
                  </a:moveTo>
                  <a:lnTo>
                    <a:pt x="1593" y="2772"/>
                  </a:lnTo>
                </a:path>
              </a:pathLst>
            </a:custGeom>
            <a:noFill/>
            <a:ln w="9525">
              <a:solidFill>
                <a:srgbClr val="3366CC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952336" name="Freeform 16"/>
            <p:cNvSpPr>
              <a:spLocks/>
            </p:cNvSpPr>
            <p:nvPr/>
          </p:nvSpPr>
          <p:spPr bwMode="auto">
            <a:xfrm>
              <a:off x="3895771" y="2618266"/>
              <a:ext cx="2858873" cy="2952406"/>
            </a:xfrm>
            <a:custGeom>
              <a:avLst/>
              <a:gdLst/>
              <a:ahLst/>
              <a:cxnLst>
                <a:cxn ang="0">
                  <a:pos x="655" y="0"/>
                </a:cxn>
                <a:cxn ang="0">
                  <a:pos x="0" y="677"/>
                </a:cxn>
              </a:cxnLst>
              <a:rect l="0" t="0" r="r" b="b"/>
              <a:pathLst>
                <a:path w="655" h="677">
                  <a:moveTo>
                    <a:pt x="655" y="0"/>
                  </a:moveTo>
                  <a:lnTo>
                    <a:pt x="0" y="677"/>
                  </a:lnTo>
                </a:path>
              </a:pathLst>
            </a:custGeom>
            <a:noFill/>
            <a:ln w="9525">
              <a:solidFill>
                <a:srgbClr val="3366CC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952337" name="Oval 17"/>
            <p:cNvSpPr>
              <a:spLocks noChangeArrowheads="1"/>
            </p:cNvSpPr>
            <p:nvPr/>
          </p:nvSpPr>
          <p:spPr bwMode="auto">
            <a:xfrm>
              <a:off x="4469236" y="2456692"/>
              <a:ext cx="2962562" cy="22225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prstClr val="white"/>
                </a:solidFill>
              </a:endParaRPr>
            </a:p>
          </p:txBody>
        </p:sp>
        <p:sp>
          <p:nvSpPr>
            <p:cNvPr id="952338" name="Text Box 18"/>
            <p:cNvSpPr txBox="1">
              <a:spLocks noChangeArrowheads="1"/>
            </p:cNvSpPr>
            <p:nvPr/>
          </p:nvSpPr>
          <p:spPr bwMode="auto">
            <a:xfrm>
              <a:off x="4951415" y="2971802"/>
              <a:ext cx="2457270" cy="12003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176213" indent="-176213" defTabSz="457200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Char char="•"/>
              </a:pPr>
              <a:r>
                <a:rPr lang="en-US" dirty="0">
                  <a:solidFill>
                    <a:prstClr val="white"/>
                  </a:solidFill>
                  <a:ea typeface="ＭＳ Ｐゴシック" pitchFamily="34" charset="-128"/>
                </a:rPr>
                <a:t>Data and Laboratory Management</a:t>
              </a:r>
            </a:p>
            <a:p>
              <a:pPr marL="176213" indent="-176213" defTabSz="457200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Char char="•"/>
              </a:pPr>
              <a:r>
                <a:rPr lang="en-US" dirty="0">
                  <a:solidFill>
                    <a:prstClr val="white"/>
                  </a:solidFill>
                  <a:ea typeface="ＭＳ Ｐゴシック" pitchFamily="34" charset="-128"/>
                </a:rPr>
                <a:t>Safety</a:t>
              </a:r>
            </a:p>
            <a:p>
              <a:pPr marL="176213" indent="-176213" defTabSz="457200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Char char="•"/>
              </a:pPr>
              <a:r>
                <a:rPr lang="en-US" dirty="0">
                  <a:solidFill>
                    <a:prstClr val="white"/>
                  </a:solidFill>
                  <a:ea typeface="ＭＳ Ｐゴシック" pitchFamily="34" charset="-128"/>
                </a:rPr>
                <a:t>Customer Service</a:t>
              </a:r>
            </a:p>
          </p:txBody>
        </p:sp>
        <p:pic>
          <p:nvPicPr>
            <p:cNvPr id="952339" name="Picture 19"/>
            <p:cNvPicPr>
              <a:picLocks noChangeAspect="1" noChangeArrowheads="1"/>
            </p:cNvPicPr>
            <p:nvPr/>
          </p:nvPicPr>
          <p:blipFill>
            <a:blip r:embed="rId11" cstate="print"/>
            <a:srcRect r="27150"/>
            <a:stretch>
              <a:fillRect/>
            </a:stretch>
          </p:blipFill>
          <p:spPr bwMode="auto">
            <a:xfrm>
              <a:off x="7618017" y="2895607"/>
              <a:ext cx="1117309" cy="754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52340" name="Text Box 20"/>
            <p:cNvSpPr txBox="1">
              <a:spLocks noChangeArrowheads="1"/>
            </p:cNvSpPr>
            <p:nvPr/>
          </p:nvSpPr>
          <p:spPr bwMode="auto">
            <a:xfrm>
              <a:off x="5510542" y="1915180"/>
              <a:ext cx="1574470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ea typeface="ＭＳ Ｐゴシック" pitchFamily="34" charset="-128"/>
                </a:rPr>
                <a:t>Patient/Client Prep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ea typeface="ＭＳ Ｐゴシック" pitchFamily="34" charset="-128"/>
                </a:rPr>
                <a:t>Sample Collection</a:t>
              </a:r>
            </a:p>
          </p:txBody>
        </p:sp>
        <p:sp>
          <p:nvSpPr>
            <p:cNvPr id="952341" name="Text Box 21"/>
            <p:cNvSpPr txBox="1">
              <a:spLocks noChangeArrowheads="1"/>
            </p:cNvSpPr>
            <p:nvPr/>
          </p:nvSpPr>
          <p:spPr bwMode="auto">
            <a:xfrm>
              <a:off x="7358832" y="3733805"/>
              <a:ext cx="2539339" cy="581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Sample Receipt 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and Accessioning</a:t>
              </a:r>
            </a:p>
          </p:txBody>
        </p:sp>
        <p:sp>
          <p:nvSpPr>
            <p:cNvPr id="952342" name="Text Box 22"/>
            <p:cNvSpPr txBox="1">
              <a:spLocks noChangeArrowheads="1"/>
            </p:cNvSpPr>
            <p:nvPr/>
          </p:nvSpPr>
          <p:spPr bwMode="auto">
            <a:xfrm>
              <a:off x="7535948" y="4842309"/>
              <a:ext cx="982064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Sample 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Transport</a:t>
              </a:r>
            </a:p>
          </p:txBody>
        </p:sp>
        <p:sp>
          <p:nvSpPr>
            <p:cNvPr id="952343" name="Text Box 23"/>
            <p:cNvSpPr txBox="1">
              <a:spLocks noChangeArrowheads="1"/>
            </p:cNvSpPr>
            <p:nvPr/>
          </p:nvSpPr>
          <p:spPr bwMode="auto">
            <a:xfrm>
              <a:off x="5180250" y="5479048"/>
              <a:ext cx="1445780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Quality Control</a:t>
              </a:r>
            </a:p>
          </p:txBody>
        </p:sp>
        <p:sp>
          <p:nvSpPr>
            <p:cNvPr id="952344" name="Text Box 24"/>
            <p:cNvSpPr txBox="1">
              <a:spLocks noChangeArrowheads="1"/>
            </p:cNvSpPr>
            <p:nvPr/>
          </p:nvSpPr>
          <p:spPr bwMode="auto">
            <a:xfrm>
              <a:off x="3148581" y="4648200"/>
              <a:ext cx="2183831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Record Keeping</a:t>
              </a:r>
            </a:p>
          </p:txBody>
        </p:sp>
        <p:sp>
          <p:nvSpPr>
            <p:cNvPr id="952345" name="Text Box 25"/>
            <p:cNvSpPr txBox="1">
              <a:spLocks noChangeArrowheads="1"/>
            </p:cNvSpPr>
            <p:nvPr/>
          </p:nvSpPr>
          <p:spPr bwMode="auto">
            <a:xfrm>
              <a:off x="3148785" y="2590800"/>
              <a:ext cx="141779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Reporting</a:t>
              </a:r>
            </a:p>
          </p:txBody>
        </p:sp>
        <p:pic>
          <p:nvPicPr>
            <p:cNvPr id="952346" name="Picture 26"/>
            <p:cNvPicPr>
              <a:picLocks noChangeAspect="1" noChangeArrowheads="1"/>
            </p:cNvPicPr>
            <p:nvPr/>
          </p:nvPicPr>
          <p:blipFill>
            <a:blip r:embed="rId11" cstate="print"/>
            <a:srcRect r="27150"/>
            <a:stretch>
              <a:fillRect/>
            </a:stretch>
          </p:blipFill>
          <p:spPr bwMode="auto">
            <a:xfrm>
              <a:off x="7618017" y="1600202"/>
              <a:ext cx="1117309" cy="754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52347" name="Text Box 27"/>
            <p:cNvSpPr txBox="1">
              <a:spLocks noChangeArrowheads="1"/>
            </p:cNvSpPr>
            <p:nvPr/>
          </p:nvSpPr>
          <p:spPr bwMode="auto">
            <a:xfrm>
              <a:off x="7085440" y="2356656"/>
              <a:ext cx="2336191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ea typeface="ＭＳ Ｐゴシック" pitchFamily="34" charset="-128"/>
                </a:rPr>
                <a:t>Staff Competency</a:t>
              </a:r>
            </a:p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prstClr val="white"/>
                  </a:solidFill>
                  <a:ea typeface="ＭＳ Ｐゴシック" pitchFamily="34" charset="-128"/>
                </a:rPr>
                <a:t>Test Evaluations</a:t>
              </a:r>
            </a:p>
          </p:txBody>
        </p:sp>
        <p:sp>
          <p:nvSpPr>
            <p:cNvPr id="952348" name="Text Box 28"/>
            <p:cNvSpPr txBox="1">
              <a:spLocks noChangeArrowheads="1"/>
            </p:cNvSpPr>
            <p:nvPr/>
          </p:nvSpPr>
          <p:spPr bwMode="auto">
            <a:xfrm>
              <a:off x="5553676" y="5731877"/>
              <a:ext cx="765274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prstClr val="white"/>
                  </a:solidFill>
                  <a:ea typeface="ＭＳ Ｐゴシック" pitchFamily="34" charset="-128"/>
                </a:rPr>
                <a:t>Testing</a:t>
              </a:r>
            </a:p>
          </p:txBody>
        </p:sp>
        <p:pic>
          <p:nvPicPr>
            <p:cNvPr id="952349" name="Picture 29" descr="bs00554_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351927" y="3962407"/>
              <a:ext cx="1422030" cy="695325"/>
            </a:xfrm>
            <a:prstGeom prst="rect">
              <a:avLst/>
            </a:prstGeom>
            <a:noFill/>
          </p:spPr>
        </p:pic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9087089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Every country should have a national QA framework that applies to testing across all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programs and platforms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/>
              <a:pPr/>
              <a:t>8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71625" y="1828800"/>
            <a:ext cx="10533654" cy="4114800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rgbClr val="FF0000"/>
                </a:solidFill>
              </a:rPr>
              <a:t>[Before the start of the training, insert here a diagram of the </a:t>
            </a:r>
            <a:r>
              <a:rPr lang="en-US" b="1" i="1" dirty="0">
                <a:solidFill>
                  <a:srgbClr val="FF0000"/>
                </a:solidFill>
              </a:rPr>
              <a:t>National QA Framework</a:t>
            </a:r>
            <a:r>
              <a:rPr lang="en-US" i="1" dirty="0">
                <a:solidFill>
                  <a:srgbClr val="FF0000"/>
                </a:solidFill>
              </a:rPr>
              <a:t>] 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823104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88825" cy="1069848"/>
          </a:xfrm>
          <a:solidFill>
            <a:srgbClr val="215968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en-US" sz="2400" dirty="0">
                <a:solidFill>
                  <a:schemeClr val="bg1"/>
                </a:solidFill>
                <a:latin typeface="Calibri" charset="0"/>
              </a:rPr>
              <a:t>Similarly, POC EID testing should follow the same QA operational framework and, at a </a:t>
            </a:r>
            <a:br>
              <a:rPr lang="en-US" sz="2400" dirty="0">
                <a:solidFill>
                  <a:schemeClr val="bg1"/>
                </a:solidFill>
                <a:latin typeface="Calibri" charset="0"/>
              </a:rPr>
            </a:br>
            <a:r>
              <a:rPr lang="en-US" sz="2400" dirty="0">
                <a:solidFill>
                  <a:schemeClr val="bg1"/>
                </a:solidFill>
                <a:latin typeface="Calibri" charset="0"/>
              </a:rPr>
              <a:t>minimum, should include these components 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BED99-59E1-49C3-8B58-57831D85CA78}" type="slidenum">
              <a:rPr lang="en-US" sz="1800"/>
              <a:pPr/>
              <a:t>9</a:t>
            </a:fld>
            <a:endParaRPr lang="en-US" sz="180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CF258A61-C76C-A14E-9DF0-9FBBC19D4A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4208783"/>
              </p:ext>
            </p:extLst>
          </p:nvPr>
        </p:nvGraphicFramePr>
        <p:xfrm>
          <a:off x="684212" y="1295400"/>
          <a:ext cx="10662866" cy="5443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Oval 5">
            <a:extLst>
              <a:ext uri="{FF2B5EF4-FFF2-40B4-BE49-F238E27FC236}">
                <a16:creationId xmlns:a16="http://schemas.microsoft.com/office/drawing/2014/main" id="{4E69BA94-6A2C-7141-90D5-78393D9DC31A}"/>
              </a:ext>
            </a:extLst>
          </p:cNvPr>
          <p:cNvSpPr/>
          <p:nvPr/>
        </p:nvSpPr>
        <p:spPr>
          <a:xfrm>
            <a:off x="11217868" y="152400"/>
            <a:ext cx="615950" cy="61595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199" b="1" dirty="0">
                <a:solidFill>
                  <a:prstClr val="white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8403772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5SEw5W0ky9p6xDlo__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5SEw5W0ky9p6xDlo__a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5i2KxxbE2wfEzhZkmJn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EHf.LuUqptsFwDOxz0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rfYApPkGeflZNQsLzTw"/>
</p:tagLst>
</file>

<file path=ppt/theme/theme1.xml><?xml version="1.0" encoding="utf-8"?>
<a:theme xmlns:a="http://schemas.openxmlformats.org/drawingml/2006/main" name="POC EID Training PP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C EID Training PPT Template" id="{46B856A7-760D-D84E-8898-8D4BB6119A52}" vid="{123DACAB-12BA-3142-940F-9EB9EC9FC07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noAutofit/>
      </a:bodyPr>
      <a:lstStyle>
        <a:defPPr marL="0" marR="0" algn="ctr">
          <a:spcBef>
            <a:spcPts val="0"/>
          </a:spcBef>
          <a:spcAft>
            <a:spcPts val="0"/>
          </a:spcAft>
          <a:defRPr sz="1400" b="1" dirty="0" smtClean="0">
            <a:solidFill>
              <a:srgbClr val="000000"/>
            </a:solidFill>
            <a:ea typeface="ＭＳ 明朝"/>
            <a:cs typeface="Times New Roman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square" rtlCol="0">
        <a:noAutofit/>
      </a:bodyPr>
      <a:lstStyle>
        <a:defPPr marL="0" marR="0" algn="ctr">
          <a:spcBef>
            <a:spcPts val="0"/>
          </a:spcBef>
          <a:spcAft>
            <a:spcPts val="0"/>
          </a:spcAft>
          <a:defRPr sz="1400" b="1" dirty="0" smtClean="0">
            <a:solidFill>
              <a:srgbClr val="000000"/>
            </a:solidFill>
            <a:ea typeface="ＭＳ 明朝"/>
            <a:cs typeface="Times New Roman"/>
          </a:defRPr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C EID Training PPT Template</Template>
  <TotalTime>200</TotalTime>
  <Words>1843</Words>
  <Application>Microsoft Office PowerPoint</Application>
  <PresentationFormat>Custom</PresentationFormat>
  <Paragraphs>322</Paragraphs>
  <Slides>24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6" baseType="lpstr">
      <vt:lpstr>ＭＳ 明朝</vt:lpstr>
      <vt:lpstr>ＭＳ Ｐゴシック</vt:lpstr>
      <vt:lpstr>ＭＳ Ｐゴシック</vt:lpstr>
      <vt:lpstr>Arial</vt:lpstr>
      <vt:lpstr>Calibri</vt:lpstr>
      <vt:lpstr>Georgia</vt:lpstr>
      <vt:lpstr>Times New Roman</vt:lpstr>
      <vt:lpstr>Wingdings</vt:lpstr>
      <vt:lpstr>POC EID Training PPT Template</vt:lpstr>
      <vt:lpstr>Office Theme</vt:lpstr>
      <vt:lpstr>1_Office Theme</vt:lpstr>
      <vt:lpstr>think-cell Slide</vt:lpstr>
      <vt:lpstr>PowerPoint Presentation</vt:lpstr>
      <vt:lpstr>Agenda</vt:lpstr>
      <vt:lpstr>Learning Objectives</vt:lpstr>
      <vt:lpstr>Agenda</vt:lpstr>
      <vt:lpstr>Why is Quality Important?</vt:lpstr>
      <vt:lpstr> The Laboratory Quality System</vt:lpstr>
      <vt:lpstr>PowerPoint Presentation</vt:lpstr>
      <vt:lpstr>Every country should have a national QA framework that applies to testing across all programs and platforms</vt:lpstr>
      <vt:lpstr>Similarly, POC EID testing should follow the same QA operational framework and, at a  minimum, should include these components </vt:lpstr>
      <vt:lpstr>Compliance with routine EQA optimizes the quality of testing and builds trust in the result from POC testing devices</vt:lpstr>
      <vt:lpstr>If consistently done, routine EQA will provide a quality check for all POC EID testing sites </vt:lpstr>
      <vt:lpstr>Managing discordant results at POC EID site</vt:lpstr>
      <vt:lpstr>Agenda</vt:lpstr>
      <vt:lpstr>The Stepwise Process for Improving the Quality of POC Testing (SPI-POCT) checklist is a  simple and easy to use tool assess POCT testing quality</vt:lpstr>
      <vt:lpstr>Agenda</vt:lpstr>
      <vt:lpstr>The goal of periodic site supervision and mentorship is to identify issues early and to  provide corrective and preventive actions</vt:lpstr>
      <vt:lpstr>Mentorship and supportive supervision provide opportunities for observation,  assessment, reflection and joint problem solving </vt:lpstr>
      <vt:lpstr>The POC EID  Mentorship/Supervision Checklist can be used to guide site visits and  identify areas for intervention and improvement</vt:lpstr>
      <vt:lpstr>Agenda</vt:lpstr>
      <vt:lpstr>PowerPoint Presentation</vt:lpstr>
      <vt:lpstr>PowerPoint Presentation</vt:lpstr>
      <vt:lpstr>Agenda</vt:lpstr>
      <vt:lpstr>Questions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ie Lamp</dc:creator>
  <cp:keywords>AI and ML opportunities in public health</cp:keywords>
  <cp:lastModifiedBy>Upjeet Chandan</cp:lastModifiedBy>
  <cp:revision>29</cp:revision>
  <dcterms:created xsi:type="dcterms:W3CDTF">2019-01-18T19:03:47Z</dcterms:created>
  <dcterms:modified xsi:type="dcterms:W3CDTF">2019-05-20T19:16:32Z</dcterms:modified>
</cp:coreProperties>
</file>